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3.xml" ContentType="application/vnd.openxmlformats-officedocument.theme+xml"/>
  <Override PartName="/ppt/tags/tag50.xml" ContentType="application/vnd.openxmlformats-officedocument.presentationml.tags+xml"/>
  <Override PartName="/ppt/notesSlides/notesSlide1.xml" ContentType="application/vnd.openxmlformats-officedocument.presentationml.notesSlide+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tags/tag57.xml" ContentType="application/vnd.openxmlformats-officedocument.presentationml.tags+xml"/>
  <Override PartName="/ppt/notesSlides/notesSlide6.xml" ContentType="application/vnd.openxmlformats-officedocument.presentationml.notesSlide+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notesSlides/notesSlide8.xml" ContentType="application/vnd.openxmlformats-officedocument.presentationml.notesSlide+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notesSlides/notesSlide10.xml" ContentType="application/vnd.openxmlformats-officedocument.presentationml.notesSlide+xml"/>
  <Override PartName="/ppt/tags/tag62.xml" ContentType="application/vnd.openxmlformats-officedocument.presentationml.tags+xml"/>
  <Override PartName="/ppt/notesSlides/notesSlide11.xml" ContentType="application/vnd.openxmlformats-officedocument.presentationml.notesSlide+xml"/>
  <Override PartName="/ppt/tags/tag63.xml" ContentType="application/vnd.openxmlformats-officedocument.presentationml.tags+xml"/>
  <Override PartName="/ppt/notesSlides/notesSlide12.xml" ContentType="application/vnd.openxmlformats-officedocument.presentationml.notesSlide+xml"/>
  <Override PartName="/ppt/tags/tag64.xml" ContentType="application/vnd.openxmlformats-officedocument.presentationml.tags+xml"/>
  <Override PartName="/ppt/notesSlides/notesSlide13.xml" ContentType="application/vnd.openxmlformats-officedocument.presentationml.notesSlide+xml"/>
  <Override PartName="/ppt/tags/tag65.xml" ContentType="application/vnd.openxmlformats-officedocument.presentationml.tags+xml"/>
  <Override PartName="/ppt/notesSlides/notesSlide14.xml" ContentType="application/vnd.openxmlformats-officedocument.presentationml.notesSlide+xml"/>
  <Override PartName="/ppt/tags/tag66.xml" ContentType="application/vnd.openxmlformats-officedocument.presentationml.tags+xml"/>
  <Override PartName="/ppt/notesSlides/notesSlide15.xml" ContentType="application/vnd.openxmlformats-officedocument.presentationml.notesSlide+xml"/>
  <Override PartName="/ppt/tags/tag67.xml" ContentType="application/vnd.openxmlformats-officedocument.presentationml.tags+xml"/>
  <Override PartName="/ppt/notesSlides/notesSlide16.xml" ContentType="application/vnd.openxmlformats-officedocument.presentationml.notesSlide+xml"/>
  <Override PartName="/ppt/tags/tag68.xml" ContentType="application/vnd.openxmlformats-officedocument.presentationml.tags+xml"/>
  <Override PartName="/ppt/notesSlides/notesSlide17.xml" ContentType="application/vnd.openxmlformats-officedocument.presentationml.notesSlide+xml"/>
  <Override PartName="/ppt/tags/tag69.xml" ContentType="application/vnd.openxmlformats-officedocument.presentationml.tags+xml"/>
  <Override PartName="/ppt/notesSlides/notesSlide18.xml" ContentType="application/vnd.openxmlformats-officedocument.presentationml.notesSlide+xml"/>
  <Override PartName="/ppt/tags/tag70.xml" ContentType="application/vnd.openxmlformats-officedocument.presentationml.tags+xml"/>
  <Override PartName="/ppt/notesSlides/notesSlide19.xml" ContentType="application/vnd.openxmlformats-officedocument.presentationml.notesSlide+xml"/>
  <Override PartName="/ppt/tags/tag71.xml" ContentType="application/vnd.openxmlformats-officedocument.presentationml.tags+xml"/>
  <Override PartName="/ppt/notesSlides/notesSlide20.xml" ContentType="application/vnd.openxmlformats-officedocument.presentationml.notesSlide+xml"/>
  <Override PartName="/ppt/tags/tag72.xml" ContentType="application/vnd.openxmlformats-officedocument.presentationml.tags+xml"/>
  <Override PartName="/ppt/notesSlides/notesSlide21.xml" ContentType="application/vnd.openxmlformats-officedocument.presentationml.notesSlide+xml"/>
  <Override PartName="/ppt/tags/tag73.xml" ContentType="application/vnd.openxmlformats-officedocument.presentationml.tags+xml"/>
  <Override PartName="/ppt/notesSlides/notesSlide22.xml" ContentType="application/vnd.openxmlformats-officedocument.presentationml.notesSlide+xml"/>
  <Override PartName="/ppt/tags/tag74.xml" ContentType="application/vnd.openxmlformats-officedocument.presentationml.tags+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60" r:id="rId4"/>
    <p:sldMasterId id="2147483808" r:id="rId5"/>
  </p:sldMasterIdLst>
  <p:notesMasterIdLst>
    <p:notesMasterId r:id="rId29"/>
  </p:notesMasterIdLst>
  <p:sldIdLst>
    <p:sldId id="2147481891" r:id="rId6"/>
    <p:sldId id="2147481895" r:id="rId7"/>
    <p:sldId id="2147481896" r:id="rId8"/>
    <p:sldId id="2147481922" r:id="rId9"/>
    <p:sldId id="2147481898" r:id="rId10"/>
    <p:sldId id="2147481899" r:id="rId11"/>
    <p:sldId id="2147481900" r:id="rId12"/>
    <p:sldId id="2147481901" r:id="rId13"/>
    <p:sldId id="2147481902" r:id="rId14"/>
    <p:sldId id="2147481903" r:id="rId15"/>
    <p:sldId id="2147481904" r:id="rId16"/>
    <p:sldId id="2147481923" r:id="rId17"/>
    <p:sldId id="2147479270" r:id="rId18"/>
    <p:sldId id="2147481907" r:id="rId19"/>
    <p:sldId id="2147481908" r:id="rId20"/>
    <p:sldId id="2147481909" r:id="rId21"/>
    <p:sldId id="2147481910" r:id="rId22"/>
    <p:sldId id="2147481911" r:id="rId23"/>
    <p:sldId id="2147481924" r:id="rId24"/>
    <p:sldId id="2147481913" r:id="rId25"/>
    <p:sldId id="2147481914" r:id="rId26"/>
    <p:sldId id="2147481915" r:id="rId27"/>
    <p:sldId id="2147481916" r:id="rId28"/>
  </p:sldIdLst>
  <p:sldSz cx="12193588" cy="6858000"/>
  <p:notesSz cx="6799263" cy="9929813"/>
  <p:embeddedFontLst>
    <p:embeddedFont>
      <p:font typeface="Articulat CF" panose="020B0604020202020204" charset="0"/>
      <p:regular r:id="rId30"/>
      <p:bold r:id="rId31"/>
      <p:italic r:id="rId31"/>
      <p:boldItalic r:id="rId31"/>
    </p:embeddedFont>
    <p:embeddedFont>
      <p:font typeface="Articulat CF Demi Bold" panose="020B0604020202020204" charset="0"/>
      <p:regular r:id="rId32"/>
      <p:bold r:id="rId33"/>
      <p:italic r:id="rId31"/>
      <p:boldItalic r:id="rId31"/>
    </p:embeddedFont>
    <p:embeddedFont>
      <p:font typeface="Roboto Light" panose="02000000000000000000" pitchFamily="2" charset="0"/>
      <p:regular r:id="rId34"/>
      <p:italic r:id="rId35"/>
    </p:embeddedFont>
    <p:embeddedFont>
      <p:font typeface="Trebuchet MS" panose="020B0603020202020204" pitchFamily="34" charset="0"/>
      <p:regular r:id="rId36"/>
      <p:bold r:id="rId37"/>
      <p:italic r:id="rId38"/>
      <p:boldItalic r:id="rId39"/>
    </p:embeddedFont>
  </p:embeddedFontLst>
  <p:custDataLst>
    <p:tags r:id="rId40"/>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B4BDBCC0-6194-46DA-B5A4-C0A2329F1B6F}">
          <p14:sldIdLst>
            <p14:sldId id="2147481891"/>
            <p14:sldId id="2147481895"/>
            <p14:sldId id="2147481896"/>
            <p14:sldId id="2147481922"/>
            <p14:sldId id="2147481898"/>
            <p14:sldId id="2147481899"/>
            <p14:sldId id="2147481900"/>
            <p14:sldId id="2147481901"/>
            <p14:sldId id="2147481902"/>
            <p14:sldId id="2147481903"/>
            <p14:sldId id="2147481904"/>
            <p14:sldId id="2147481923"/>
            <p14:sldId id="2147479270"/>
            <p14:sldId id="2147481907"/>
            <p14:sldId id="2147481908"/>
            <p14:sldId id="2147481909"/>
            <p14:sldId id="2147481910"/>
            <p14:sldId id="2147481911"/>
            <p14:sldId id="2147481924"/>
            <p14:sldId id="2147481913"/>
            <p14:sldId id="2147481914"/>
            <p14:sldId id="2147481915"/>
            <p14:sldId id="2147481916"/>
          </p14:sldIdLst>
        </p14:section>
        <p14:section name="New storyline" id="{C3BFE92E-DE14-4491-9899-C8CFA2C1F50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2F3E1B-E15F-08FB-F5A2-6B4CFF96F9BF}" name="Marcel Mol" initials="MM" userId="S::marcelmol@micompany.nl::6d675aa4-1a81-473a-ac4b-b94e5ac1b25b" providerId="AD"/>
  <p188:author id="{DCB53246-49E6-11A7-8878-975D7CF7FD1D}" name="Frejanne Ruoff" initials="FR" userId="S::FrejanneRuoff@rewirenow.com::9d1fce4d-1807-41ab-9fff-c275f3f34840" providerId="AD"/>
  <p188:author id="{4BBFE46C-9728-3529-E9C1-4F9E5E00E0E8}" name="Laura Brandwacht" initials="LB" userId="S::LauraBrandwacht@rewirenow.com::a9d57cbe-0ccd-41c0-a2ae-1463fc77126f" providerId="AD"/>
  <p188:author id="{3434176F-889A-0A93-39ED-44DBC12F5B95}" name="Ties Carbo" initials="TC" userId="S::tiescarbo@rewirenow.com::1d6e9e32-b947-45ba-a698-36dff59d9c53" providerId="AD"/>
  <p188:author id="{26535097-CC36-DAB8-4A27-F287A44A399C}" name="Marco van den Bogaard" initials="Mv" userId="S::MarcovandenBogaard@rewirenow.com::c4f1ca6f-dfae-4dc6-8bb5-410f68504199" providerId="AD"/>
  <p188:author id="{978ED997-4B4C-7077-2362-DC6D530F2900}" name="Wynfrith Meijwes" initials="" userId="S::WynfrithMeijwes@Micompany.nl::977bb566-99e1-4d09-840f-5d247debb629" providerId="AD"/>
  <p188:author id="{75B87AA1-B004-6421-8D1E-B7F6D080230F}" name="Callum Cannadine" initials="CC" userId="S::CallumCannadine@rewirenow.com::7e9e62b6-9600-4d72-8537-d2b4ac261555" providerId="AD"/>
  <p188:author id="{D5DD7FA6-21AA-A457-C8AB-DFE9A3AF7824}" name="Marcel Mol" initials="MM" userId="S::MarcelMol@rewirenow.com::6d675aa4-1a81-473a-ac4b-b94e5ac1b25b" providerId="AD"/>
  <p188:author id="{96616DC6-EDAE-49BD-4B35-654239BDF847}" name="Ties Carbo" initials="TC" userId="S::tiescarbo@Micompany.nl::1d6e9e32-b947-45ba-a698-36dff59d9c53" providerId="AD"/>
  <p188:author id="{3E6A7AC9-6D77-B5B0-60EB-8D588FC9047B}" name="Wynfrith Meijwes" initials="WM" userId="S::WynfrithMeijwes@rewirenow.com::977bb566-99e1-4d09-840f-5d247debb629" providerId="AD"/>
  <p188:author id="{BB275CD6-B972-16BF-672B-739645094448}" name="Barend Beenackers" initials="BB" userId="S::BarendBeenackers@rewirenow.com::485bf92a-b0fb-4722-9afc-958bb91c664b" providerId="AD"/>
  <p188:author id="{CA2287D9-AC0F-0113-176A-5ED06F9ED947}" name="Ties Carbo" initials="" userId="S::TiesCarbo@rewirenow.com::1d6e9e32-b947-45ba-a698-36dff59d9c53" providerId="AD"/>
  <p188:author id="{F51465DE-6338-9EB5-6CF2-638C49D915AD}" name="Simon Koolstra" initials="SK" userId="S::SimonKoolstra@rewirenow.com::08cf4cb4-14ba-4aad-b0c8-d709c9c3afe4" providerId="AD"/>
  <p188:author id="{F10AC2FB-A01D-8BE3-F1D8-E7DF77000F0A}" name="Rabiah Nasar-Ullah" initials="RN" userId="S::RabiahNasarUllah@rewirenow.com::a273c12b-9ede-4e5f-81ec-461cf5335c4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Stijl, gemiddeld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Stijl, gemiddeld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33" autoAdjust="0"/>
    <p:restoredTop sz="95521" autoAdjust="0"/>
  </p:normalViewPr>
  <p:slideViewPr>
    <p:cSldViewPr snapToGrid="0" showGuides="1">
      <p:cViewPr varScale="1">
        <p:scale>
          <a:sx n="85" d="100"/>
          <a:sy n="85" d="100"/>
        </p:scale>
        <p:origin x="101" y="72"/>
      </p:cViewPr>
      <p:guideLst/>
    </p:cSldViewPr>
  </p:slid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0.fntdata"/><Relationship Id="rId21" Type="http://schemas.openxmlformats.org/officeDocument/2006/relationships/slide" Target="slides/slide16.xml"/><Relationship Id="rId34" Type="http://schemas.openxmlformats.org/officeDocument/2006/relationships/font" Target="fonts/font5.fntdata"/><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tags" Target="tags/tag1.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7.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2.fntdata"/><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4.fntdata"/><Relationship Id="rId38" Type="http://schemas.openxmlformats.org/officeDocument/2006/relationships/font" Target="fonts/font9.fntdata"/><Relationship Id="rId20" Type="http://schemas.openxmlformats.org/officeDocument/2006/relationships/slide" Target="slides/slide15.xml"/><Relationship Id="rId4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b="0" i="0">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Date Placeholder 2"/>
          <p:cNvSpPr>
            <a:spLocks noGrp="1"/>
          </p:cNvSpPr>
          <p:nvPr>
            <p:ph type="dt" idx="1"/>
          </p:nvPr>
        </p:nvSpPr>
        <p:spPr>
          <a:xfrm>
            <a:off x="3851342" y="0"/>
            <a:ext cx="2946347" cy="498215"/>
          </a:xfrm>
          <a:prstGeom prst="rect">
            <a:avLst/>
          </a:prstGeom>
        </p:spPr>
        <p:txBody>
          <a:bodyPr vert="horz" lIns="91440" tIns="45720" rIns="91440" bIns="45720" rtlCol="0"/>
          <a:lstStyle>
            <a:lvl1pPr algn="r">
              <a:defRPr sz="1200" b="0" i="0">
                <a:latin typeface="Arial" panose="020B0604020202020204" pitchFamily="34" charset="0"/>
                <a:cs typeface="Arial" panose="020B0604020202020204" pitchFamily="34" charset="0"/>
                <a:sym typeface="Arial" panose="020B0604020202020204" pitchFamily="34" charset="0"/>
              </a:defRPr>
            </a:lvl1pPr>
          </a:lstStyle>
          <a:p>
            <a:fld id="{6FD946BF-B7F2-4B85-A32C-FF3A9B9E5277}" type="datetimeFigureOut">
              <a:rPr lang="en-GB" smtClean="0"/>
              <a:pPr/>
              <a:t>12/11/2024</a:t>
            </a:fld>
            <a:endParaRPr lang="en-GB" dirty="0"/>
          </a:p>
        </p:txBody>
      </p:sp>
      <p:sp>
        <p:nvSpPr>
          <p:cNvPr id="4" name="Slide Image Placeholder 3"/>
          <p:cNvSpPr>
            <a:spLocks noGrp="1" noRot="1" noChangeAspect="1"/>
          </p:cNvSpPr>
          <p:nvPr>
            <p:ph type="sldImg" idx="2"/>
          </p:nvPr>
        </p:nvSpPr>
        <p:spPr>
          <a:xfrm>
            <a:off x="420688" y="1241425"/>
            <a:ext cx="5957887" cy="3351213"/>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31600"/>
            <a:ext cx="2946347" cy="498214"/>
          </a:xfrm>
          <a:prstGeom prst="rect">
            <a:avLst/>
          </a:prstGeom>
        </p:spPr>
        <p:txBody>
          <a:bodyPr vert="horz" lIns="91440" tIns="45720" rIns="91440" bIns="45720" rtlCol="0" anchor="b"/>
          <a:lstStyle>
            <a:lvl1pPr algn="l">
              <a:defRPr sz="1200" b="0" i="0">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51342" y="9431600"/>
            <a:ext cx="2946347" cy="498214"/>
          </a:xfrm>
          <a:prstGeom prst="rect">
            <a:avLst/>
          </a:prstGeom>
        </p:spPr>
        <p:txBody>
          <a:bodyPr vert="horz" lIns="91440" tIns="45720" rIns="91440" bIns="45720" rtlCol="0" anchor="b"/>
          <a:lstStyle>
            <a:lvl1pPr algn="r">
              <a:defRPr sz="1200" b="0" i="0">
                <a:latin typeface="Arial" panose="020B0604020202020204" pitchFamily="34" charset="0"/>
                <a:cs typeface="Arial" panose="020B0604020202020204" pitchFamily="34" charset="0"/>
                <a:sym typeface="Arial" panose="020B0604020202020204" pitchFamily="34" charset="0"/>
              </a:defRPr>
            </a:lvl1pPr>
          </a:lstStyle>
          <a:p>
            <a:fld id="{009F447B-EEC4-43D9-8856-3A43D546C93D}" type="slidenum">
              <a:rPr lang="en-GB" smtClean="0"/>
              <a:pPr/>
              <a:t>‹#›</a:t>
            </a:fld>
            <a:endParaRPr lang="en-GB" dirty="0"/>
          </a:p>
        </p:txBody>
      </p:sp>
    </p:spTree>
    <p:extLst>
      <p:ext uri="{BB962C8B-B14F-4D97-AF65-F5344CB8AC3E}">
        <p14:creationId xmlns:p14="http://schemas.microsoft.com/office/powerpoint/2010/main" val="3185869505"/>
      </p:ext>
    </p:extLst>
  </p:cSld>
  <p:clrMap bg1="lt1" tx1="dk1" bg2="lt2" tx2="dk2" accent1="accent1" accent2="accent2" accent3="accent3" accent4="accent4" accent5="accent5" accent6="accent6" hlink="hlink" folHlink="folHlink"/>
  <p:notesStyle>
    <a:lvl1pPr marL="0" algn="l" defTabSz="914355" rtl="0" eaLnBrk="1" latinLnBrk="0" hangingPunct="1">
      <a:defRPr sz="1200" b="0" i="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177" algn="l" defTabSz="914355" rtl="0" eaLnBrk="1" latinLnBrk="0" hangingPunct="1">
      <a:defRPr sz="1200" b="0" i="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355" algn="l" defTabSz="914355" rtl="0" eaLnBrk="1" latinLnBrk="0" hangingPunct="1">
      <a:defRPr sz="1200" b="0" i="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532" algn="l" defTabSz="914355" rtl="0" eaLnBrk="1" latinLnBrk="0" hangingPunct="1">
      <a:defRPr sz="1200" b="0" i="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709" algn="l" defTabSz="914355" rtl="0" eaLnBrk="1" latinLnBrk="0" hangingPunct="1">
      <a:defRPr sz="1200" b="0" i="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5886" algn="l" defTabSz="914355" rtl="0" eaLnBrk="1" latinLnBrk="0" hangingPunct="1">
      <a:defRPr sz="1200" kern="1200">
        <a:solidFill>
          <a:schemeClr val="tx1"/>
        </a:solidFill>
        <a:latin typeface="+mn-lt"/>
        <a:ea typeface="+mn-ea"/>
        <a:cs typeface="+mn-cs"/>
      </a:defRPr>
    </a:lvl6pPr>
    <a:lvl7pPr marL="2743063" algn="l" defTabSz="914355" rtl="0" eaLnBrk="1" latinLnBrk="0" hangingPunct="1">
      <a:defRPr sz="1200" kern="1200">
        <a:solidFill>
          <a:schemeClr val="tx1"/>
        </a:solidFill>
        <a:latin typeface="+mn-lt"/>
        <a:ea typeface="+mn-ea"/>
        <a:cs typeface="+mn-cs"/>
      </a:defRPr>
    </a:lvl7pPr>
    <a:lvl8pPr marL="3200240" algn="l" defTabSz="914355" rtl="0" eaLnBrk="1" latinLnBrk="0" hangingPunct="1">
      <a:defRPr sz="1200" kern="1200">
        <a:solidFill>
          <a:schemeClr val="tx1"/>
        </a:solidFill>
        <a:latin typeface="+mn-lt"/>
        <a:ea typeface="+mn-ea"/>
        <a:cs typeface="+mn-cs"/>
      </a:defRPr>
    </a:lvl8pPr>
    <a:lvl9pPr marL="3657417" algn="l" defTabSz="91435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009F447B-EEC4-43D9-8856-3A43D546C93D}" type="slidenum">
              <a:rPr kumimoji="0" lang="en-US" sz="1200" b="0" i="0" u="none" strike="noStrike" kern="1200" cap="none" spc="0" normalizeH="0" baseline="0" noProof="0" smtClean="0">
                <a:ln>
                  <a:noFill/>
                </a:ln>
                <a:solidFill>
                  <a:prstClr val="black"/>
                </a:solidFill>
                <a:effectLst/>
                <a:uLnTx/>
                <a:uFillTx/>
              </a:rPr>
              <a:pPr marL="0" marR="0" lvl="0" indent="0" algn="r" defTabSz="2286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0129500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10</a:t>
            </a:fld>
            <a:endParaRPr lang="en-GB" dirty="0"/>
          </a:p>
        </p:txBody>
      </p:sp>
    </p:spTree>
    <p:extLst>
      <p:ext uri="{BB962C8B-B14F-4D97-AF65-F5344CB8AC3E}">
        <p14:creationId xmlns:p14="http://schemas.microsoft.com/office/powerpoint/2010/main" val="83643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9F447B-EEC4-43D9-8856-3A43D546C93D}" type="slidenum">
              <a:rPr lang="en-GB" smtClean="0"/>
              <a:pPr/>
              <a:t>11</a:t>
            </a:fld>
            <a:endParaRPr lang="en-GB" dirty="0"/>
          </a:p>
        </p:txBody>
      </p:sp>
    </p:spTree>
    <p:extLst>
      <p:ext uri="{BB962C8B-B14F-4D97-AF65-F5344CB8AC3E}">
        <p14:creationId xmlns:p14="http://schemas.microsoft.com/office/powerpoint/2010/main" val="438531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9F447B-EEC4-43D9-8856-3A43D546C93D}" type="slidenum">
              <a:rPr lang="en-GB" smtClean="0"/>
              <a:pPr/>
              <a:t>12</a:t>
            </a:fld>
            <a:endParaRPr lang="en-GB" dirty="0"/>
          </a:p>
        </p:txBody>
      </p:sp>
    </p:spTree>
    <p:extLst>
      <p:ext uri="{BB962C8B-B14F-4D97-AF65-F5344CB8AC3E}">
        <p14:creationId xmlns:p14="http://schemas.microsoft.com/office/powerpoint/2010/main" val="36707698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13</a:t>
            </a:fld>
            <a:endParaRPr lang="en-GB" dirty="0"/>
          </a:p>
        </p:txBody>
      </p:sp>
    </p:spTree>
    <p:extLst>
      <p:ext uri="{BB962C8B-B14F-4D97-AF65-F5344CB8AC3E}">
        <p14:creationId xmlns:p14="http://schemas.microsoft.com/office/powerpoint/2010/main" val="924109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14</a:t>
            </a:fld>
            <a:endParaRPr lang="en-GB" dirty="0"/>
          </a:p>
        </p:txBody>
      </p:sp>
    </p:spTree>
    <p:extLst>
      <p:ext uri="{BB962C8B-B14F-4D97-AF65-F5344CB8AC3E}">
        <p14:creationId xmlns:p14="http://schemas.microsoft.com/office/powerpoint/2010/main" val="41377084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15</a:t>
            </a:fld>
            <a:endParaRPr lang="en-GB" dirty="0"/>
          </a:p>
        </p:txBody>
      </p:sp>
    </p:spTree>
    <p:extLst>
      <p:ext uri="{BB962C8B-B14F-4D97-AF65-F5344CB8AC3E}">
        <p14:creationId xmlns:p14="http://schemas.microsoft.com/office/powerpoint/2010/main" val="23816410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16</a:t>
            </a:fld>
            <a:endParaRPr lang="en-GB" dirty="0"/>
          </a:p>
        </p:txBody>
      </p:sp>
    </p:spTree>
    <p:extLst>
      <p:ext uri="{BB962C8B-B14F-4D97-AF65-F5344CB8AC3E}">
        <p14:creationId xmlns:p14="http://schemas.microsoft.com/office/powerpoint/2010/main" val="1472439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17</a:t>
            </a:fld>
            <a:endParaRPr lang="en-GB" dirty="0"/>
          </a:p>
        </p:txBody>
      </p:sp>
    </p:spTree>
    <p:extLst>
      <p:ext uri="{BB962C8B-B14F-4D97-AF65-F5344CB8AC3E}">
        <p14:creationId xmlns:p14="http://schemas.microsoft.com/office/powerpoint/2010/main" val="7189907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18</a:t>
            </a:fld>
            <a:endParaRPr lang="en-GB" dirty="0"/>
          </a:p>
        </p:txBody>
      </p:sp>
    </p:spTree>
    <p:extLst>
      <p:ext uri="{BB962C8B-B14F-4D97-AF65-F5344CB8AC3E}">
        <p14:creationId xmlns:p14="http://schemas.microsoft.com/office/powerpoint/2010/main" val="25033318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19</a:t>
            </a:fld>
            <a:endParaRPr lang="en-GB" dirty="0"/>
          </a:p>
        </p:txBody>
      </p:sp>
    </p:spTree>
    <p:extLst>
      <p:ext uri="{BB962C8B-B14F-4D97-AF65-F5344CB8AC3E}">
        <p14:creationId xmlns:p14="http://schemas.microsoft.com/office/powerpoint/2010/main" val="1536364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t>General questions to be answered by MT:</a:t>
            </a:r>
          </a:p>
          <a:p>
            <a:pPr marL="171450" indent="-171450">
              <a:buFontTx/>
              <a:buChar char="-"/>
            </a:pPr>
            <a:r>
              <a:rPr lang="en-US"/>
              <a:t>Do we want to use the competencies literally as blueprint for the performance meetings? There is a difference between using and rating on it. There is still no overall alignment. Now there is too much about scoring and rankings, an there is too less conversation about the quality</a:t>
            </a:r>
          </a:p>
          <a:p>
            <a:pPr marL="171450" indent="-171450">
              <a:buFontTx/>
              <a:buChar char="-"/>
            </a:pPr>
            <a:r>
              <a:rPr lang="en-US"/>
              <a:t>Should we use the set of competencies as a basis for our job interviews? For example, After a while we do observe that some competencies are lacking</a:t>
            </a:r>
          </a:p>
        </p:txBody>
      </p:sp>
      <p:sp>
        <p:nvSpPr>
          <p:cNvPr id="4" name="Tijdelijke aanduiding voor dianummer 3"/>
          <p:cNvSpPr>
            <a:spLocks noGrp="1"/>
          </p:cNvSpPr>
          <p:nvPr>
            <p:ph type="sldNum" sz="quarter" idx="5"/>
          </p:nvPr>
        </p:nvSpPr>
        <p:spPr/>
        <p:txBody>
          <a:bodyPr/>
          <a:lstStyle/>
          <a:p>
            <a:fld id="{2EA72F95-2832-4AB7-8005-0AEB2001AABB}" type="slidenum">
              <a:rPr lang="en-US" smtClean="0"/>
              <a:pPr/>
              <a:t>2</a:t>
            </a:fld>
            <a:endParaRPr lang="en-US"/>
          </a:p>
        </p:txBody>
      </p:sp>
    </p:spTree>
    <p:extLst>
      <p:ext uri="{BB962C8B-B14F-4D97-AF65-F5344CB8AC3E}">
        <p14:creationId xmlns:p14="http://schemas.microsoft.com/office/powerpoint/2010/main" val="42629988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20</a:t>
            </a:fld>
            <a:endParaRPr lang="en-GB" dirty="0"/>
          </a:p>
        </p:txBody>
      </p:sp>
    </p:spTree>
    <p:extLst>
      <p:ext uri="{BB962C8B-B14F-4D97-AF65-F5344CB8AC3E}">
        <p14:creationId xmlns:p14="http://schemas.microsoft.com/office/powerpoint/2010/main" val="9066351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21</a:t>
            </a:fld>
            <a:endParaRPr lang="en-GB" dirty="0"/>
          </a:p>
        </p:txBody>
      </p:sp>
    </p:spTree>
    <p:extLst>
      <p:ext uri="{BB962C8B-B14F-4D97-AF65-F5344CB8AC3E}">
        <p14:creationId xmlns:p14="http://schemas.microsoft.com/office/powerpoint/2010/main" val="22006317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22</a:t>
            </a:fld>
            <a:endParaRPr lang="en-GB" dirty="0"/>
          </a:p>
        </p:txBody>
      </p:sp>
    </p:spTree>
    <p:extLst>
      <p:ext uri="{BB962C8B-B14F-4D97-AF65-F5344CB8AC3E}">
        <p14:creationId xmlns:p14="http://schemas.microsoft.com/office/powerpoint/2010/main" val="21605059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23</a:t>
            </a:fld>
            <a:endParaRPr lang="en-GB" dirty="0"/>
          </a:p>
        </p:txBody>
      </p:sp>
    </p:spTree>
    <p:extLst>
      <p:ext uri="{BB962C8B-B14F-4D97-AF65-F5344CB8AC3E}">
        <p14:creationId xmlns:p14="http://schemas.microsoft.com/office/powerpoint/2010/main" val="3984933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A72F95-2832-4AB7-8005-0AEB2001AABB}" type="slidenum">
              <a:rPr lang="en-US" smtClean="0"/>
              <a:pPr/>
              <a:t>3</a:t>
            </a:fld>
            <a:endParaRPr lang="en-US"/>
          </a:p>
        </p:txBody>
      </p:sp>
    </p:spTree>
    <p:extLst>
      <p:ext uri="{BB962C8B-B14F-4D97-AF65-F5344CB8AC3E}">
        <p14:creationId xmlns:p14="http://schemas.microsoft.com/office/powerpoint/2010/main" val="3502917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2EA72F95-2832-4AB7-8005-0AEB2001AABB}" type="slidenum">
              <a:rPr lang="en-US" smtClean="0"/>
              <a:pPr/>
              <a:t>4</a:t>
            </a:fld>
            <a:endParaRPr lang="en-US"/>
          </a:p>
        </p:txBody>
      </p:sp>
    </p:spTree>
    <p:extLst>
      <p:ext uri="{BB962C8B-B14F-4D97-AF65-F5344CB8AC3E}">
        <p14:creationId xmlns:p14="http://schemas.microsoft.com/office/powerpoint/2010/main" val="19827249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5</a:t>
            </a:fld>
            <a:endParaRPr lang="en-GB" dirty="0"/>
          </a:p>
        </p:txBody>
      </p:sp>
    </p:spTree>
    <p:extLst>
      <p:ext uri="{BB962C8B-B14F-4D97-AF65-F5344CB8AC3E}">
        <p14:creationId xmlns:p14="http://schemas.microsoft.com/office/powerpoint/2010/main" val="3223343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dirty="0" err="1"/>
              <a:t>DAIdactics</a:t>
            </a:r>
            <a:r>
              <a:rPr lang="en-US" dirty="0"/>
              <a:t> - *</a:t>
            </a:r>
            <a:r>
              <a:rPr lang="en-US" sz="1200" dirty="0"/>
              <a:t>Program management – Business performance consulting – understanding gaps and needs | Develop, Execute, Implement, Review, Improve Program</a:t>
            </a:r>
          </a:p>
          <a:p>
            <a:pPr marL="0" marR="0" lvl="0" indent="0" algn="l" defTabSz="914355" rtl="0" eaLnBrk="1" fontAlgn="auto" latinLnBrk="0" hangingPunct="1">
              <a:lnSpc>
                <a:spcPct val="100000"/>
              </a:lnSpc>
              <a:spcBef>
                <a:spcPts val="0"/>
              </a:spcBef>
              <a:spcAft>
                <a:spcPts val="0"/>
              </a:spcAft>
              <a:buClrTx/>
              <a:buSzTx/>
              <a:buFontTx/>
              <a:buNone/>
              <a:tabLst/>
              <a:defRPr/>
            </a:pPr>
            <a:r>
              <a:rPr lang="en-US" sz="1200" dirty="0"/>
              <a:t>AI Empowerment - </a:t>
            </a:r>
            <a:r>
              <a:rPr lang="en-GB" b="0" i="0" dirty="0">
                <a:solidFill>
                  <a:srgbClr val="0D0D0D"/>
                </a:solidFill>
                <a:effectLst/>
              </a:rPr>
              <a:t>Education empowers individuals by providing them with the knowledge and skills necessary to navigate the complexities of modern society and make meaningful contributions to their communities.</a:t>
            </a:r>
            <a:endParaRPr lang="en-US" sz="1200" dirty="0"/>
          </a:p>
          <a:p>
            <a:r>
              <a:rPr lang="en-GB" sz="1800" dirty="0">
                <a:effectLst/>
              </a:rPr>
              <a:t>Growing People  - Delivering Training - more than presenting - coaching, training, inspiring, removing blockers – feedback</a:t>
            </a:r>
          </a:p>
          <a:p>
            <a:r>
              <a:rPr lang="en-GB" sz="1800" dirty="0">
                <a:effectLst/>
              </a:rPr>
              <a:t>Design – a program (in terms of a craft)</a:t>
            </a:r>
            <a:endParaRPr lang="en-US" dirty="0"/>
          </a:p>
        </p:txBody>
      </p:sp>
      <p:sp>
        <p:nvSpPr>
          <p:cNvPr id="4" name="Slide Number Placeholder 3"/>
          <p:cNvSpPr>
            <a:spLocks noGrp="1"/>
          </p:cNvSpPr>
          <p:nvPr>
            <p:ph type="sldNum" sz="quarter" idx="5"/>
          </p:nvPr>
        </p:nvSpPr>
        <p:spPr/>
        <p:txBody>
          <a:bodyPr/>
          <a:lstStyle/>
          <a:p>
            <a:fld id="{009F447B-EEC4-43D9-8856-3A43D546C93D}" type="slidenum">
              <a:rPr lang="en-GB" smtClean="0"/>
              <a:pPr/>
              <a:t>6</a:t>
            </a:fld>
            <a:endParaRPr lang="en-GB" dirty="0"/>
          </a:p>
        </p:txBody>
      </p:sp>
    </p:spTree>
    <p:extLst>
      <p:ext uri="{BB962C8B-B14F-4D97-AF65-F5344CB8AC3E}">
        <p14:creationId xmlns:p14="http://schemas.microsoft.com/office/powerpoint/2010/main" val="8979233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7</a:t>
            </a:fld>
            <a:endParaRPr lang="en-GB" dirty="0"/>
          </a:p>
        </p:txBody>
      </p:sp>
    </p:spTree>
    <p:extLst>
      <p:ext uri="{BB962C8B-B14F-4D97-AF65-F5344CB8AC3E}">
        <p14:creationId xmlns:p14="http://schemas.microsoft.com/office/powerpoint/2010/main" val="1002667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8</a:t>
            </a:fld>
            <a:endParaRPr lang="en-GB" dirty="0"/>
          </a:p>
        </p:txBody>
      </p:sp>
    </p:spTree>
    <p:extLst>
      <p:ext uri="{BB962C8B-B14F-4D97-AF65-F5344CB8AC3E}">
        <p14:creationId xmlns:p14="http://schemas.microsoft.com/office/powerpoint/2010/main" val="18254614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009F447B-EEC4-43D9-8856-3A43D546C93D}" type="slidenum">
              <a:rPr lang="en-GB" smtClean="0"/>
              <a:pPr/>
              <a:t>9</a:t>
            </a:fld>
            <a:endParaRPr lang="en-GB" dirty="0"/>
          </a:p>
        </p:txBody>
      </p:sp>
    </p:spTree>
    <p:extLst>
      <p:ext uri="{BB962C8B-B14F-4D97-AF65-F5344CB8AC3E}">
        <p14:creationId xmlns:p14="http://schemas.microsoft.com/office/powerpoint/2010/main" val="204159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7.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slide - color">
    <p:bg>
      <p:bgPr>
        <a:gradFill>
          <a:gsLst>
            <a:gs pos="0">
              <a:schemeClr val="accent1">
                <a:lumMod val="75000"/>
              </a:schemeClr>
            </a:gs>
            <a:gs pos="50000">
              <a:schemeClr val="accent1"/>
            </a:gs>
          </a:gsLst>
          <a:lin ang="168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2730CD4-FE1C-40E3-94E8-D69A09D596C1}"/>
              </a:ext>
            </a:extLst>
          </p:cNvPr>
          <p:cNvGraphicFramePr>
            <a:graphicFrameLocks noChangeAspect="1"/>
          </p:cNvGraphicFramePr>
          <p:nvPr userDrawn="1">
            <p:custDataLst>
              <p:tags r:id="rId1"/>
            </p:custDataLst>
            <p:extLst>
              <p:ext uri="{D42A27DB-BD31-4B8C-83A1-F6EECF244321}">
                <p14:modId xmlns:p14="http://schemas.microsoft.com/office/powerpoint/2010/main" val="3361590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2730CD4-FE1C-40E3-94E8-D69A09D596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Graphic 4">
            <a:extLst>
              <a:ext uri="{FF2B5EF4-FFF2-40B4-BE49-F238E27FC236}">
                <a16:creationId xmlns:a16="http://schemas.microsoft.com/office/drawing/2014/main" id="{597E2DEF-4E55-0A5F-B449-0138385E0BA8}"/>
              </a:ext>
            </a:extLst>
          </p:cNvPr>
          <p:cNvSpPr/>
          <p:nvPr userDrawn="1"/>
        </p:nvSpPr>
        <p:spPr>
          <a:xfrm>
            <a:off x="3810394" y="-1895061"/>
            <a:ext cx="10778341" cy="10774017"/>
          </a:xfrm>
          <a:custGeom>
            <a:avLst/>
            <a:gdLst>
              <a:gd name="connsiteX0" fmla="*/ 2375535 w 2375535"/>
              <a:gd name="connsiteY0" fmla="*/ 741045 h 2374582"/>
              <a:gd name="connsiteX1" fmla="*/ 1634490 w 2375535"/>
              <a:gd name="connsiteY1" fmla="*/ 0 h 2374582"/>
              <a:gd name="connsiteX2" fmla="*/ 1187768 w 2375535"/>
              <a:gd name="connsiteY2" fmla="*/ 446723 h 2374582"/>
              <a:gd name="connsiteX3" fmla="*/ 741045 w 2375535"/>
              <a:gd name="connsiteY3" fmla="*/ 0 h 2374582"/>
              <a:gd name="connsiteX4" fmla="*/ 0 w 2375535"/>
              <a:gd name="connsiteY4" fmla="*/ 741045 h 2374582"/>
              <a:gd name="connsiteX5" fmla="*/ 446723 w 2375535"/>
              <a:gd name="connsiteY5" fmla="*/ 1187768 h 2374582"/>
              <a:gd name="connsiteX6" fmla="*/ 0 w 2375535"/>
              <a:gd name="connsiteY6" fmla="*/ 1633538 h 2374582"/>
              <a:gd name="connsiteX7" fmla="*/ 741045 w 2375535"/>
              <a:gd name="connsiteY7" fmla="*/ 2374583 h 2374582"/>
              <a:gd name="connsiteX8" fmla="*/ 1187768 w 2375535"/>
              <a:gd name="connsiteY8" fmla="*/ 1927860 h 2374582"/>
              <a:gd name="connsiteX9" fmla="*/ 1634490 w 2375535"/>
              <a:gd name="connsiteY9" fmla="*/ 2374583 h 2374582"/>
              <a:gd name="connsiteX10" fmla="*/ 2375535 w 2375535"/>
              <a:gd name="connsiteY10" fmla="*/ 1633538 h 2374582"/>
              <a:gd name="connsiteX11" fmla="*/ 1928813 w 2375535"/>
              <a:gd name="connsiteY11" fmla="*/ 1186815 h 2374582"/>
              <a:gd name="connsiteX12" fmla="*/ 2375535 w 2375535"/>
              <a:gd name="connsiteY12" fmla="*/ 741045 h 2374582"/>
              <a:gd name="connsiteX13" fmla="*/ 2206943 w 2375535"/>
              <a:gd name="connsiteY13" fmla="*/ 741045 h 2374582"/>
              <a:gd name="connsiteX14" fmla="*/ 1844040 w 2375535"/>
              <a:gd name="connsiteY14" fmla="*/ 1103948 h 2374582"/>
              <a:gd name="connsiteX15" fmla="*/ 1600200 w 2375535"/>
              <a:gd name="connsiteY15" fmla="*/ 860108 h 2374582"/>
              <a:gd name="connsiteX16" fmla="*/ 1963103 w 2375535"/>
              <a:gd name="connsiteY16" fmla="*/ 497205 h 2374582"/>
              <a:gd name="connsiteX17" fmla="*/ 2206943 w 2375535"/>
              <a:gd name="connsiteY17" fmla="*/ 741045 h 2374582"/>
              <a:gd name="connsiteX18" fmla="*/ 1616393 w 2375535"/>
              <a:gd name="connsiteY18" fmla="*/ 1043940 h 2374582"/>
              <a:gd name="connsiteX19" fmla="*/ 1557338 w 2375535"/>
              <a:gd name="connsiteY19" fmla="*/ 1102995 h 2374582"/>
              <a:gd name="connsiteX20" fmla="*/ 1271588 w 2375535"/>
              <a:gd name="connsiteY20" fmla="*/ 817245 h 2374582"/>
              <a:gd name="connsiteX21" fmla="*/ 1330643 w 2375535"/>
              <a:gd name="connsiteY21" fmla="*/ 758190 h 2374582"/>
              <a:gd name="connsiteX22" fmla="*/ 1616393 w 2375535"/>
              <a:gd name="connsiteY22" fmla="*/ 1043940 h 2374582"/>
              <a:gd name="connsiteX23" fmla="*/ 1187768 w 2375535"/>
              <a:gd name="connsiteY23" fmla="*/ 1102995 h 2374582"/>
              <a:gd name="connsiteX24" fmla="*/ 1086803 w 2375535"/>
              <a:gd name="connsiteY24" fmla="*/ 1002030 h 2374582"/>
              <a:gd name="connsiteX25" fmla="*/ 1187768 w 2375535"/>
              <a:gd name="connsiteY25" fmla="*/ 902018 h 2374582"/>
              <a:gd name="connsiteX26" fmla="*/ 1288733 w 2375535"/>
              <a:gd name="connsiteY26" fmla="*/ 1002983 h 2374582"/>
              <a:gd name="connsiteX27" fmla="*/ 1187768 w 2375535"/>
              <a:gd name="connsiteY27" fmla="*/ 1102995 h 2374582"/>
              <a:gd name="connsiteX28" fmla="*/ 1002983 w 2375535"/>
              <a:gd name="connsiteY28" fmla="*/ 1086803 h 2374582"/>
              <a:gd name="connsiteX29" fmla="*/ 1103948 w 2375535"/>
              <a:gd name="connsiteY29" fmla="*/ 1187768 h 2374582"/>
              <a:gd name="connsiteX30" fmla="*/ 1002983 w 2375535"/>
              <a:gd name="connsiteY30" fmla="*/ 1288733 h 2374582"/>
              <a:gd name="connsiteX31" fmla="*/ 902018 w 2375535"/>
              <a:gd name="connsiteY31" fmla="*/ 1187768 h 2374582"/>
              <a:gd name="connsiteX32" fmla="*/ 1002983 w 2375535"/>
              <a:gd name="connsiteY32" fmla="*/ 1086803 h 2374582"/>
              <a:gd name="connsiteX33" fmla="*/ 1187768 w 2375535"/>
              <a:gd name="connsiteY33" fmla="*/ 1271588 h 2374582"/>
              <a:gd name="connsiteX34" fmla="*/ 1288733 w 2375535"/>
              <a:gd name="connsiteY34" fmla="*/ 1372553 h 2374582"/>
              <a:gd name="connsiteX35" fmla="*/ 1187768 w 2375535"/>
              <a:gd name="connsiteY35" fmla="*/ 1473518 h 2374582"/>
              <a:gd name="connsiteX36" fmla="*/ 1086803 w 2375535"/>
              <a:gd name="connsiteY36" fmla="*/ 1372553 h 2374582"/>
              <a:gd name="connsiteX37" fmla="*/ 1187768 w 2375535"/>
              <a:gd name="connsiteY37" fmla="*/ 1271588 h 2374582"/>
              <a:gd name="connsiteX38" fmla="*/ 1372553 w 2375535"/>
              <a:gd name="connsiteY38" fmla="*/ 1287780 h 2374582"/>
              <a:gd name="connsiteX39" fmla="*/ 1271588 w 2375535"/>
              <a:gd name="connsiteY39" fmla="*/ 1186815 h 2374582"/>
              <a:gd name="connsiteX40" fmla="*/ 1372553 w 2375535"/>
              <a:gd name="connsiteY40" fmla="*/ 1085850 h 2374582"/>
              <a:gd name="connsiteX41" fmla="*/ 1473518 w 2375535"/>
              <a:gd name="connsiteY41" fmla="*/ 1186815 h 2374582"/>
              <a:gd name="connsiteX42" fmla="*/ 1372553 w 2375535"/>
              <a:gd name="connsiteY42" fmla="*/ 1287780 h 2374582"/>
              <a:gd name="connsiteX43" fmla="*/ 1187768 w 2375535"/>
              <a:gd name="connsiteY43" fmla="*/ 733425 h 2374582"/>
              <a:gd name="connsiteX44" fmla="*/ 1128713 w 2375535"/>
              <a:gd name="connsiteY44" fmla="*/ 674370 h 2374582"/>
              <a:gd name="connsiteX45" fmla="*/ 1187768 w 2375535"/>
              <a:gd name="connsiteY45" fmla="*/ 615315 h 2374582"/>
              <a:gd name="connsiteX46" fmla="*/ 1246823 w 2375535"/>
              <a:gd name="connsiteY46" fmla="*/ 674370 h 2374582"/>
              <a:gd name="connsiteX47" fmla="*/ 1187768 w 2375535"/>
              <a:gd name="connsiteY47" fmla="*/ 733425 h 2374582"/>
              <a:gd name="connsiteX48" fmla="*/ 1103948 w 2375535"/>
              <a:gd name="connsiteY48" fmla="*/ 817245 h 2374582"/>
              <a:gd name="connsiteX49" fmla="*/ 818198 w 2375535"/>
              <a:gd name="connsiteY49" fmla="*/ 1102995 h 2374582"/>
              <a:gd name="connsiteX50" fmla="*/ 759143 w 2375535"/>
              <a:gd name="connsiteY50" fmla="*/ 1043940 h 2374582"/>
              <a:gd name="connsiteX51" fmla="*/ 1044893 w 2375535"/>
              <a:gd name="connsiteY51" fmla="*/ 758190 h 2374582"/>
              <a:gd name="connsiteX52" fmla="*/ 1103948 w 2375535"/>
              <a:gd name="connsiteY52" fmla="*/ 817245 h 2374582"/>
              <a:gd name="connsiteX53" fmla="*/ 674370 w 2375535"/>
              <a:gd name="connsiteY53" fmla="*/ 1127760 h 2374582"/>
              <a:gd name="connsiteX54" fmla="*/ 733425 w 2375535"/>
              <a:gd name="connsiteY54" fmla="*/ 1186815 h 2374582"/>
              <a:gd name="connsiteX55" fmla="*/ 674370 w 2375535"/>
              <a:gd name="connsiteY55" fmla="*/ 1245870 h 2374582"/>
              <a:gd name="connsiteX56" fmla="*/ 615315 w 2375535"/>
              <a:gd name="connsiteY56" fmla="*/ 1186815 h 2374582"/>
              <a:gd name="connsiteX57" fmla="*/ 674370 w 2375535"/>
              <a:gd name="connsiteY57" fmla="*/ 1127760 h 2374582"/>
              <a:gd name="connsiteX58" fmla="*/ 759143 w 2375535"/>
              <a:gd name="connsiteY58" fmla="*/ 1330643 h 2374582"/>
              <a:gd name="connsiteX59" fmla="*/ 818198 w 2375535"/>
              <a:gd name="connsiteY59" fmla="*/ 1271588 h 2374582"/>
              <a:gd name="connsiteX60" fmla="*/ 1103948 w 2375535"/>
              <a:gd name="connsiteY60" fmla="*/ 1557338 h 2374582"/>
              <a:gd name="connsiteX61" fmla="*/ 1044893 w 2375535"/>
              <a:gd name="connsiteY61" fmla="*/ 1616393 h 2374582"/>
              <a:gd name="connsiteX62" fmla="*/ 759143 w 2375535"/>
              <a:gd name="connsiteY62" fmla="*/ 1330643 h 2374582"/>
              <a:gd name="connsiteX63" fmla="*/ 1187768 w 2375535"/>
              <a:gd name="connsiteY63" fmla="*/ 1641158 h 2374582"/>
              <a:gd name="connsiteX64" fmla="*/ 1246823 w 2375535"/>
              <a:gd name="connsiteY64" fmla="*/ 1700213 h 2374582"/>
              <a:gd name="connsiteX65" fmla="*/ 1187768 w 2375535"/>
              <a:gd name="connsiteY65" fmla="*/ 1759268 h 2374582"/>
              <a:gd name="connsiteX66" fmla="*/ 1128713 w 2375535"/>
              <a:gd name="connsiteY66" fmla="*/ 1700213 h 2374582"/>
              <a:gd name="connsiteX67" fmla="*/ 1187768 w 2375535"/>
              <a:gd name="connsiteY67" fmla="*/ 1641158 h 2374582"/>
              <a:gd name="connsiteX68" fmla="*/ 1271588 w 2375535"/>
              <a:gd name="connsiteY68" fmla="*/ 1556385 h 2374582"/>
              <a:gd name="connsiteX69" fmla="*/ 1557338 w 2375535"/>
              <a:gd name="connsiteY69" fmla="*/ 1270635 h 2374582"/>
              <a:gd name="connsiteX70" fmla="*/ 1616393 w 2375535"/>
              <a:gd name="connsiteY70" fmla="*/ 1329690 h 2374582"/>
              <a:gd name="connsiteX71" fmla="*/ 1330643 w 2375535"/>
              <a:gd name="connsiteY71" fmla="*/ 1615440 h 2374582"/>
              <a:gd name="connsiteX72" fmla="*/ 1271588 w 2375535"/>
              <a:gd name="connsiteY72" fmla="*/ 1556385 h 2374582"/>
              <a:gd name="connsiteX73" fmla="*/ 1701165 w 2375535"/>
              <a:gd name="connsiteY73" fmla="*/ 1246823 h 2374582"/>
              <a:gd name="connsiteX74" fmla="*/ 1642110 w 2375535"/>
              <a:gd name="connsiteY74" fmla="*/ 1187768 h 2374582"/>
              <a:gd name="connsiteX75" fmla="*/ 1701165 w 2375535"/>
              <a:gd name="connsiteY75" fmla="*/ 1128713 h 2374582"/>
              <a:gd name="connsiteX76" fmla="*/ 1760220 w 2375535"/>
              <a:gd name="connsiteY76" fmla="*/ 1187768 h 2374582"/>
              <a:gd name="connsiteX77" fmla="*/ 1701165 w 2375535"/>
              <a:gd name="connsiteY77" fmla="*/ 1246823 h 2374582"/>
              <a:gd name="connsiteX78" fmla="*/ 1634490 w 2375535"/>
              <a:gd name="connsiteY78" fmla="*/ 168593 h 2374582"/>
              <a:gd name="connsiteX79" fmla="*/ 1878330 w 2375535"/>
              <a:gd name="connsiteY79" fmla="*/ 412432 h 2374582"/>
              <a:gd name="connsiteX80" fmla="*/ 1515428 w 2375535"/>
              <a:gd name="connsiteY80" fmla="*/ 775335 h 2374582"/>
              <a:gd name="connsiteX81" fmla="*/ 1331595 w 2375535"/>
              <a:gd name="connsiteY81" fmla="*/ 589598 h 2374582"/>
              <a:gd name="connsiteX82" fmla="*/ 1331595 w 2375535"/>
              <a:gd name="connsiteY82" fmla="*/ 589598 h 2374582"/>
              <a:gd name="connsiteX83" fmla="*/ 1272540 w 2375535"/>
              <a:gd name="connsiteY83" fmla="*/ 530543 h 2374582"/>
              <a:gd name="connsiteX84" fmla="*/ 1634490 w 2375535"/>
              <a:gd name="connsiteY84" fmla="*/ 168593 h 2374582"/>
              <a:gd name="connsiteX85" fmla="*/ 741045 w 2375535"/>
              <a:gd name="connsiteY85" fmla="*/ 168593 h 2374582"/>
              <a:gd name="connsiteX86" fmla="*/ 1103948 w 2375535"/>
              <a:gd name="connsiteY86" fmla="*/ 530543 h 2374582"/>
              <a:gd name="connsiteX87" fmla="*/ 1044893 w 2375535"/>
              <a:gd name="connsiteY87" fmla="*/ 589598 h 2374582"/>
              <a:gd name="connsiteX88" fmla="*/ 1044893 w 2375535"/>
              <a:gd name="connsiteY88" fmla="*/ 589598 h 2374582"/>
              <a:gd name="connsiteX89" fmla="*/ 859155 w 2375535"/>
              <a:gd name="connsiteY89" fmla="*/ 774383 h 2374582"/>
              <a:gd name="connsiteX90" fmla="*/ 497205 w 2375535"/>
              <a:gd name="connsiteY90" fmla="*/ 412432 h 2374582"/>
              <a:gd name="connsiteX91" fmla="*/ 741045 w 2375535"/>
              <a:gd name="connsiteY91" fmla="*/ 168593 h 2374582"/>
              <a:gd name="connsiteX92" fmla="*/ 168593 w 2375535"/>
              <a:gd name="connsiteY92" fmla="*/ 741045 h 2374582"/>
              <a:gd name="connsiteX93" fmla="*/ 412433 w 2375535"/>
              <a:gd name="connsiteY93" fmla="*/ 497205 h 2374582"/>
              <a:gd name="connsiteX94" fmla="*/ 775335 w 2375535"/>
              <a:gd name="connsiteY94" fmla="*/ 860108 h 2374582"/>
              <a:gd name="connsiteX95" fmla="*/ 531495 w 2375535"/>
              <a:gd name="connsiteY95" fmla="*/ 1102995 h 2374582"/>
              <a:gd name="connsiteX96" fmla="*/ 168593 w 2375535"/>
              <a:gd name="connsiteY96" fmla="*/ 741045 h 2374582"/>
              <a:gd name="connsiteX97" fmla="*/ 168593 w 2375535"/>
              <a:gd name="connsiteY97" fmla="*/ 1633538 h 2374582"/>
              <a:gd name="connsiteX98" fmla="*/ 531495 w 2375535"/>
              <a:gd name="connsiteY98" fmla="*/ 1271588 h 2374582"/>
              <a:gd name="connsiteX99" fmla="*/ 775335 w 2375535"/>
              <a:gd name="connsiteY99" fmla="*/ 1515428 h 2374582"/>
              <a:gd name="connsiteX100" fmla="*/ 412433 w 2375535"/>
              <a:gd name="connsiteY100" fmla="*/ 1878330 h 2374582"/>
              <a:gd name="connsiteX101" fmla="*/ 168593 w 2375535"/>
              <a:gd name="connsiteY101" fmla="*/ 1633538 h 2374582"/>
              <a:gd name="connsiteX102" fmla="*/ 741045 w 2375535"/>
              <a:gd name="connsiteY102" fmla="*/ 2205990 h 2374582"/>
              <a:gd name="connsiteX103" fmla="*/ 497205 w 2375535"/>
              <a:gd name="connsiteY103" fmla="*/ 1962150 h 2374582"/>
              <a:gd name="connsiteX104" fmla="*/ 860108 w 2375535"/>
              <a:gd name="connsiteY104" fmla="*/ 1599248 h 2374582"/>
              <a:gd name="connsiteX105" fmla="*/ 1044893 w 2375535"/>
              <a:gd name="connsiteY105" fmla="*/ 1784033 h 2374582"/>
              <a:gd name="connsiteX106" fmla="*/ 1044893 w 2375535"/>
              <a:gd name="connsiteY106" fmla="*/ 1784033 h 2374582"/>
              <a:gd name="connsiteX107" fmla="*/ 1103948 w 2375535"/>
              <a:gd name="connsiteY107" fmla="*/ 1843088 h 2374582"/>
              <a:gd name="connsiteX108" fmla="*/ 741045 w 2375535"/>
              <a:gd name="connsiteY108" fmla="*/ 2205990 h 2374582"/>
              <a:gd name="connsiteX109" fmla="*/ 1634490 w 2375535"/>
              <a:gd name="connsiteY109" fmla="*/ 2205990 h 2374582"/>
              <a:gd name="connsiteX110" fmla="*/ 1271588 w 2375535"/>
              <a:gd name="connsiteY110" fmla="*/ 1843088 h 2374582"/>
              <a:gd name="connsiteX111" fmla="*/ 1330643 w 2375535"/>
              <a:gd name="connsiteY111" fmla="*/ 1784033 h 2374582"/>
              <a:gd name="connsiteX112" fmla="*/ 1330643 w 2375535"/>
              <a:gd name="connsiteY112" fmla="*/ 1784033 h 2374582"/>
              <a:gd name="connsiteX113" fmla="*/ 1515428 w 2375535"/>
              <a:gd name="connsiteY113" fmla="*/ 1599248 h 2374582"/>
              <a:gd name="connsiteX114" fmla="*/ 1878330 w 2375535"/>
              <a:gd name="connsiteY114" fmla="*/ 1962150 h 2374582"/>
              <a:gd name="connsiteX115" fmla="*/ 1634490 w 2375535"/>
              <a:gd name="connsiteY115" fmla="*/ 2205990 h 2374582"/>
              <a:gd name="connsiteX116" fmla="*/ 2206943 w 2375535"/>
              <a:gd name="connsiteY116" fmla="*/ 1633538 h 2374582"/>
              <a:gd name="connsiteX117" fmla="*/ 1963103 w 2375535"/>
              <a:gd name="connsiteY117" fmla="*/ 1877378 h 2374582"/>
              <a:gd name="connsiteX118" fmla="*/ 1600200 w 2375535"/>
              <a:gd name="connsiteY118" fmla="*/ 1514475 h 2374582"/>
              <a:gd name="connsiteX119" fmla="*/ 1844040 w 2375535"/>
              <a:gd name="connsiteY119" fmla="*/ 1270635 h 2374582"/>
              <a:gd name="connsiteX120" fmla="*/ 2206943 w 2375535"/>
              <a:gd name="connsiteY120" fmla="*/ 1633538 h 237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75535" h="2374582">
                <a:moveTo>
                  <a:pt x="2375535" y="741045"/>
                </a:moveTo>
                <a:lnTo>
                  <a:pt x="1634490" y="0"/>
                </a:lnTo>
                <a:lnTo>
                  <a:pt x="1187768" y="446723"/>
                </a:lnTo>
                <a:lnTo>
                  <a:pt x="741045" y="0"/>
                </a:lnTo>
                <a:lnTo>
                  <a:pt x="0" y="741045"/>
                </a:lnTo>
                <a:lnTo>
                  <a:pt x="446723" y="1187768"/>
                </a:lnTo>
                <a:lnTo>
                  <a:pt x="0" y="1633538"/>
                </a:lnTo>
                <a:lnTo>
                  <a:pt x="741045" y="2374583"/>
                </a:lnTo>
                <a:lnTo>
                  <a:pt x="1187768" y="1927860"/>
                </a:lnTo>
                <a:lnTo>
                  <a:pt x="1634490" y="2374583"/>
                </a:lnTo>
                <a:lnTo>
                  <a:pt x="2375535" y="1633538"/>
                </a:lnTo>
                <a:lnTo>
                  <a:pt x="1928813" y="1186815"/>
                </a:lnTo>
                <a:lnTo>
                  <a:pt x="2375535" y="741045"/>
                </a:lnTo>
                <a:close/>
                <a:moveTo>
                  <a:pt x="2206943" y="741045"/>
                </a:moveTo>
                <a:lnTo>
                  <a:pt x="1844040" y="1103948"/>
                </a:lnTo>
                <a:lnTo>
                  <a:pt x="1600200" y="860108"/>
                </a:lnTo>
                <a:lnTo>
                  <a:pt x="1963103" y="497205"/>
                </a:lnTo>
                <a:lnTo>
                  <a:pt x="2206943" y="741045"/>
                </a:lnTo>
                <a:close/>
                <a:moveTo>
                  <a:pt x="1616393" y="1043940"/>
                </a:moveTo>
                <a:lnTo>
                  <a:pt x="1557338" y="1102995"/>
                </a:lnTo>
                <a:lnTo>
                  <a:pt x="1271588" y="817245"/>
                </a:lnTo>
                <a:lnTo>
                  <a:pt x="1330643" y="758190"/>
                </a:lnTo>
                <a:lnTo>
                  <a:pt x="1616393" y="1043940"/>
                </a:lnTo>
                <a:close/>
                <a:moveTo>
                  <a:pt x="1187768" y="1102995"/>
                </a:moveTo>
                <a:lnTo>
                  <a:pt x="1086803" y="1002030"/>
                </a:lnTo>
                <a:lnTo>
                  <a:pt x="1187768" y="902018"/>
                </a:lnTo>
                <a:lnTo>
                  <a:pt x="1288733" y="1002983"/>
                </a:lnTo>
                <a:lnTo>
                  <a:pt x="1187768" y="1102995"/>
                </a:lnTo>
                <a:close/>
                <a:moveTo>
                  <a:pt x="1002983" y="1086803"/>
                </a:moveTo>
                <a:lnTo>
                  <a:pt x="1103948" y="1187768"/>
                </a:lnTo>
                <a:lnTo>
                  <a:pt x="1002983" y="1288733"/>
                </a:lnTo>
                <a:lnTo>
                  <a:pt x="902018" y="1187768"/>
                </a:lnTo>
                <a:lnTo>
                  <a:pt x="1002983" y="1086803"/>
                </a:lnTo>
                <a:close/>
                <a:moveTo>
                  <a:pt x="1187768" y="1271588"/>
                </a:moveTo>
                <a:lnTo>
                  <a:pt x="1288733" y="1372553"/>
                </a:lnTo>
                <a:lnTo>
                  <a:pt x="1187768" y="1473518"/>
                </a:lnTo>
                <a:lnTo>
                  <a:pt x="1086803" y="1372553"/>
                </a:lnTo>
                <a:lnTo>
                  <a:pt x="1187768" y="1271588"/>
                </a:lnTo>
                <a:close/>
                <a:moveTo>
                  <a:pt x="1372553" y="1287780"/>
                </a:moveTo>
                <a:lnTo>
                  <a:pt x="1271588" y="1186815"/>
                </a:lnTo>
                <a:lnTo>
                  <a:pt x="1372553" y="1085850"/>
                </a:lnTo>
                <a:lnTo>
                  <a:pt x="1473518" y="1186815"/>
                </a:lnTo>
                <a:lnTo>
                  <a:pt x="1372553" y="1287780"/>
                </a:lnTo>
                <a:close/>
                <a:moveTo>
                  <a:pt x="1187768" y="733425"/>
                </a:moveTo>
                <a:lnTo>
                  <a:pt x="1128713" y="674370"/>
                </a:lnTo>
                <a:lnTo>
                  <a:pt x="1187768" y="615315"/>
                </a:lnTo>
                <a:lnTo>
                  <a:pt x="1246823" y="674370"/>
                </a:lnTo>
                <a:lnTo>
                  <a:pt x="1187768" y="733425"/>
                </a:lnTo>
                <a:close/>
                <a:moveTo>
                  <a:pt x="1103948" y="817245"/>
                </a:moveTo>
                <a:lnTo>
                  <a:pt x="818198" y="1102995"/>
                </a:lnTo>
                <a:lnTo>
                  <a:pt x="759143" y="1043940"/>
                </a:lnTo>
                <a:lnTo>
                  <a:pt x="1044893" y="758190"/>
                </a:lnTo>
                <a:lnTo>
                  <a:pt x="1103948" y="817245"/>
                </a:lnTo>
                <a:close/>
                <a:moveTo>
                  <a:pt x="674370" y="1127760"/>
                </a:moveTo>
                <a:lnTo>
                  <a:pt x="733425" y="1186815"/>
                </a:lnTo>
                <a:lnTo>
                  <a:pt x="674370" y="1245870"/>
                </a:lnTo>
                <a:lnTo>
                  <a:pt x="615315" y="1186815"/>
                </a:lnTo>
                <a:lnTo>
                  <a:pt x="674370" y="1127760"/>
                </a:lnTo>
                <a:close/>
                <a:moveTo>
                  <a:pt x="759143" y="1330643"/>
                </a:moveTo>
                <a:lnTo>
                  <a:pt x="818198" y="1271588"/>
                </a:lnTo>
                <a:lnTo>
                  <a:pt x="1103948" y="1557338"/>
                </a:lnTo>
                <a:lnTo>
                  <a:pt x="1044893" y="1616393"/>
                </a:lnTo>
                <a:lnTo>
                  <a:pt x="759143" y="1330643"/>
                </a:lnTo>
                <a:close/>
                <a:moveTo>
                  <a:pt x="1187768" y="1641158"/>
                </a:moveTo>
                <a:lnTo>
                  <a:pt x="1246823" y="1700213"/>
                </a:lnTo>
                <a:lnTo>
                  <a:pt x="1187768" y="1759268"/>
                </a:lnTo>
                <a:lnTo>
                  <a:pt x="1128713" y="1700213"/>
                </a:lnTo>
                <a:lnTo>
                  <a:pt x="1187768" y="1641158"/>
                </a:lnTo>
                <a:close/>
                <a:moveTo>
                  <a:pt x="1271588" y="1556385"/>
                </a:moveTo>
                <a:lnTo>
                  <a:pt x="1557338" y="1270635"/>
                </a:lnTo>
                <a:lnTo>
                  <a:pt x="1616393" y="1329690"/>
                </a:lnTo>
                <a:lnTo>
                  <a:pt x="1330643" y="1615440"/>
                </a:lnTo>
                <a:lnTo>
                  <a:pt x="1271588" y="1556385"/>
                </a:lnTo>
                <a:close/>
                <a:moveTo>
                  <a:pt x="1701165" y="1246823"/>
                </a:moveTo>
                <a:lnTo>
                  <a:pt x="1642110" y="1187768"/>
                </a:lnTo>
                <a:lnTo>
                  <a:pt x="1701165" y="1128713"/>
                </a:lnTo>
                <a:lnTo>
                  <a:pt x="1760220" y="1187768"/>
                </a:lnTo>
                <a:lnTo>
                  <a:pt x="1701165" y="1246823"/>
                </a:lnTo>
                <a:close/>
                <a:moveTo>
                  <a:pt x="1634490" y="168593"/>
                </a:moveTo>
                <a:lnTo>
                  <a:pt x="1878330" y="412432"/>
                </a:lnTo>
                <a:lnTo>
                  <a:pt x="1515428" y="775335"/>
                </a:lnTo>
                <a:lnTo>
                  <a:pt x="1331595" y="589598"/>
                </a:lnTo>
                <a:lnTo>
                  <a:pt x="1331595" y="589598"/>
                </a:lnTo>
                <a:lnTo>
                  <a:pt x="1272540" y="530543"/>
                </a:lnTo>
                <a:lnTo>
                  <a:pt x="1634490" y="168593"/>
                </a:lnTo>
                <a:close/>
                <a:moveTo>
                  <a:pt x="741045" y="168593"/>
                </a:moveTo>
                <a:lnTo>
                  <a:pt x="1103948" y="530543"/>
                </a:lnTo>
                <a:lnTo>
                  <a:pt x="1044893" y="589598"/>
                </a:lnTo>
                <a:lnTo>
                  <a:pt x="1044893" y="589598"/>
                </a:lnTo>
                <a:lnTo>
                  <a:pt x="859155" y="774383"/>
                </a:lnTo>
                <a:lnTo>
                  <a:pt x="497205" y="412432"/>
                </a:lnTo>
                <a:lnTo>
                  <a:pt x="741045" y="168593"/>
                </a:lnTo>
                <a:close/>
                <a:moveTo>
                  <a:pt x="168593" y="741045"/>
                </a:moveTo>
                <a:lnTo>
                  <a:pt x="412433" y="497205"/>
                </a:lnTo>
                <a:lnTo>
                  <a:pt x="775335" y="860108"/>
                </a:lnTo>
                <a:lnTo>
                  <a:pt x="531495" y="1102995"/>
                </a:lnTo>
                <a:lnTo>
                  <a:pt x="168593" y="741045"/>
                </a:lnTo>
                <a:close/>
                <a:moveTo>
                  <a:pt x="168593" y="1633538"/>
                </a:moveTo>
                <a:lnTo>
                  <a:pt x="531495" y="1271588"/>
                </a:lnTo>
                <a:lnTo>
                  <a:pt x="775335" y="1515428"/>
                </a:lnTo>
                <a:lnTo>
                  <a:pt x="412433" y="1878330"/>
                </a:lnTo>
                <a:lnTo>
                  <a:pt x="168593" y="1633538"/>
                </a:lnTo>
                <a:close/>
                <a:moveTo>
                  <a:pt x="741045" y="2205990"/>
                </a:moveTo>
                <a:lnTo>
                  <a:pt x="497205" y="1962150"/>
                </a:lnTo>
                <a:lnTo>
                  <a:pt x="860108" y="1599248"/>
                </a:lnTo>
                <a:lnTo>
                  <a:pt x="1044893" y="1784033"/>
                </a:lnTo>
                <a:lnTo>
                  <a:pt x="1044893" y="1784033"/>
                </a:lnTo>
                <a:lnTo>
                  <a:pt x="1103948" y="1843088"/>
                </a:lnTo>
                <a:lnTo>
                  <a:pt x="741045" y="2205990"/>
                </a:lnTo>
                <a:close/>
                <a:moveTo>
                  <a:pt x="1634490" y="2205990"/>
                </a:moveTo>
                <a:lnTo>
                  <a:pt x="1271588" y="1843088"/>
                </a:lnTo>
                <a:lnTo>
                  <a:pt x="1330643" y="1784033"/>
                </a:lnTo>
                <a:lnTo>
                  <a:pt x="1330643" y="1784033"/>
                </a:lnTo>
                <a:lnTo>
                  <a:pt x="1515428" y="1599248"/>
                </a:lnTo>
                <a:lnTo>
                  <a:pt x="1878330" y="1962150"/>
                </a:lnTo>
                <a:lnTo>
                  <a:pt x="1634490" y="2205990"/>
                </a:lnTo>
                <a:close/>
                <a:moveTo>
                  <a:pt x="2206943" y="1633538"/>
                </a:moveTo>
                <a:lnTo>
                  <a:pt x="1963103" y="1877378"/>
                </a:lnTo>
                <a:lnTo>
                  <a:pt x="1600200" y="1514475"/>
                </a:lnTo>
                <a:lnTo>
                  <a:pt x="1844040" y="1270635"/>
                </a:lnTo>
                <a:lnTo>
                  <a:pt x="2206943" y="1633538"/>
                </a:lnTo>
                <a:close/>
              </a:path>
            </a:pathLst>
          </a:custGeom>
          <a:solidFill>
            <a:schemeClr val="bg1">
              <a:alpha val="14985"/>
            </a:schemeClr>
          </a:solidFill>
          <a:ln w="9525" cap="flat">
            <a:noFill/>
            <a:prstDash val="solid"/>
            <a:miter/>
          </a:ln>
        </p:spPr>
        <p:txBody>
          <a:bodyPr rtlCol="0" anchor="ctr"/>
          <a:lstStyle/>
          <a:p>
            <a:endParaRPr lang="en-US">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7" name="Graphic 4">
            <a:extLst>
              <a:ext uri="{FF2B5EF4-FFF2-40B4-BE49-F238E27FC236}">
                <a16:creationId xmlns:a16="http://schemas.microsoft.com/office/drawing/2014/main" id="{D931F874-6C1D-71C2-E93A-F64319C40171}"/>
              </a:ext>
            </a:extLst>
          </p:cNvPr>
          <p:cNvSpPr/>
          <p:nvPr/>
        </p:nvSpPr>
        <p:spPr>
          <a:xfrm>
            <a:off x="6776576" y="1066800"/>
            <a:ext cx="4855888" cy="4853940"/>
          </a:xfrm>
          <a:custGeom>
            <a:avLst/>
            <a:gdLst>
              <a:gd name="connsiteX0" fmla="*/ 2375535 w 2375535"/>
              <a:gd name="connsiteY0" fmla="*/ 741045 h 2374582"/>
              <a:gd name="connsiteX1" fmla="*/ 1634490 w 2375535"/>
              <a:gd name="connsiteY1" fmla="*/ 0 h 2374582"/>
              <a:gd name="connsiteX2" fmla="*/ 1187768 w 2375535"/>
              <a:gd name="connsiteY2" fmla="*/ 446723 h 2374582"/>
              <a:gd name="connsiteX3" fmla="*/ 741045 w 2375535"/>
              <a:gd name="connsiteY3" fmla="*/ 0 h 2374582"/>
              <a:gd name="connsiteX4" fmla="*/ 0 w 2375535"/>
              <a:gd name="connsiteY4" fmla="*/ 741045 h 2374582"/>
              <a:gd name="connsiteX5" fmla="*/ 446723 w 2375535"/>
              <a:gd name="connsiteY5" fmla="*/ 1187768 h 2374582"/>
              <a:gd name="connsiteX6" fmla="*/ 0 w 2375535"/>
              <a:gd name="connsiteY6" fmla="*/ 1633538 h 2374582"/>
              <a:gd name="connsiteX7" fmla="*/ 741045 w 2375535"/>
              <a:gd name="connsiteY7" fmla="*/ 2374583 h 2374582"/>
              <a:gd name="connsiteX8" fmla="*/ 1187768 w 2375535"/>
              <a:gd name="connsiteY8" fmla="*/ 1927860 h 2374582"/>
              <a:gd name="connsiteX9" fmla="*/ 1634490 w 2375535"/>
              <a:gd name="connsiteY9" fmla="*/ 2374583 h 2374582"/>
              <a:gd name="connsiteX10" fmla="*/ 2375535 w 2375535"/>
              <a:gd name="connsiteY10" fmla="*/ 1633538 h 2374582"/>
              <a:gd name="connsiteX11" fmla="*/ 1928813 w 2375535"/>
              <a:gd name="connsiteY11" fmla="*/ 1186815 h 2374582"/>
              <a:gd name="connsiteX12" fmla="*/ 2375535 w 2375535"/>
              <a:gd name="connsiteY12" fmla="*/ 741045 h 2374582"/>
              <a:gd name="connsiteX13" fmla="*/ 2206943 w 2375535"/>
              <a:gd name="connsiteY13" fmla="*/ 741045 h 2374582"/>
              <a:gd name="connsiteX14" fmla="*/ 1844040 w 2375535"/>
              <a:gd name="connsiteY14" fmla="*/ 1103948 h 2374582"/>
              <a:gd name="connsiteX15" fmla="*/ 1600200 w 2375535"/>
              <a:gd name="connsiteY15" fmla="*/ 860108 h 2374582"/>
              <a:gd name="connsiteX16" fmla="*/ 1963103 w 2375535"/>
              <a:gd name="connsiteY16" fmla="*/ 497205 h 2374582"/>
              <a:gd name="connsiteX17" fmla="*/ 2206943 w 2375535"/>
              <a:gd name="connsiteY17" fmla="*/ 741045 h 2374582"/>
              <a:gd name="connsiteX18" fmla="*/ 1616393 w 2375535"/>
              <a:gd name="connsiteY18" fmla="*/ 1043940 h 2374582"/>
              <a:gd name="connsiteX19" fmla="*/ 1557338 w 2375535"/>
              <a:gd name="connsiteY19" fmla="*/ 1102995 h 2374582"/>
              <a:gd name="connsiteX20" fmla="*/ 1271588 w 2375535"/>
              <a:gd name="connsiteY20" fmla="*/ 817245 h 2374582"/>
              <a:gd name="connsiteX21" fmla="*/ 1330643 w 2375535"/>
              <a:gd name="connsiteY21" fmla="*/ 758190 h 2374582"/>
              <a:gd name="connsiteX22" fmla="*/ 1616393 w 2375535"/>
              <a:gd name="connsiteY22" fmla="*/ 1043940 h 2374582"/>
              <a:gd name="connsiteX23" fmla="*/ 1187768 w 2375535"/>
              <a:gd name="connsiteY23" fmla="*/ 1102995 h 2374582"/>
              <a:gd name="connsiteX24" fmla="*/ 1086803 w 2375535"/>
              <a:gd name="connsiteY24" fmla="*/ 1002030 h 2374582"/>
              <a:gd name="connsiteX25" fmla="*/ 1187768 w 2375535"/>
              <a:gd name="connsiteY25" fmla="*/ 902018 h 2374582"/>
              <a:gd name="connsiteX26" fmla="*/ 1288733 w 2375535"/>
              <a:gd name="connsiteY26" fmla="*/ 1002983 h 2374582"/>
              <a:gd name="connsiteX27" fmla="*/ 1187768 w 2375535"/>
              <a:gd name="connsiteY27" fmla="*/ 1102995 h 2374582"/>
              <a:gd name="connsiteX28" fmla="*/ 1002983 w 2375535"/>
              <a:gd name="connsiteY28" fmla="*/ 1086803 h 2374582"/>
              <a:gd name="connsiteX29" fmla="*/ 1103948 w 2375535"/>
              <a:gd name="connsiteY29" fmla="*/ 1187768 h 2374582"/>
              <a:gd name="connsiteX30" fmla="*/ 1002983 w 2375535"/>
              <a:gd name="connsiteY30" fmla="*/ 1288733 h 2374582"/>
              <a:gd name="connsiteX31" fmla="*/ 902018 w 2375535"/>
              <a:gd name="connsiteY31" fmla="*/ 1187768 h 2374582"/>
              <a:gd name="connsiteX32" fmla="*/ 1002983 w 2375535"/>
              <a:gd name="connsiteY32" fmla="*/ 1086803 h 2374582"/>
              <a:gd name="connsiteX33" fmla="*/ 1187768 w 2375535"/>
              <a:gd name="connsiteY33" fmla="*/ 1271588 h 2374582"/>
              <a:gd name="connsiteX34" fmla="*/ 1288733 w 2375535"/>
              <a:gd name="connsiteY34" fmla="*/ 1372553 h 2374582"/>
              <a:gd name="connsiteX35" fmla="*/ 1187768 w 2375535"/>
              <a:gd name="connsiteY35" fmla="*/ 1473518 h 2374582"/>
              <a:gd name="connsiteX36" fmla="*/ 1086803 w 2375535"/>
              <a:gd name="connsiteY36" fmla="*/ 1372553 h 2374582"/>
              <a:gd name="connsiteX37" fmla="*/ 1187768 w 2375535"/>
              <a:gd name="connsiteY37" fmla="*/ 1271588 h 2374582"/>
              <a:gd name="connsiteX38" fmla="*/ 1372553 w 2375535"/>
              <a:gd name="connsiteY38" fmla="*/ 1287780 h 2374582"/>
              <a:gd name="connsiteX39" fmla="*/ 1271588 w 2375535"/>
              <a:gd name="connsiteY39" fmla="*/ 1186815 h 2374582"/>
              <a:gd name="connsiteX40" fmla="*/ 1372553 w 2375535"/>
              <a:gd name="connsiteY40" fmla="*/ 1085850 h 2374582"/>
              <a:gd name="connsiteX41" fmla="*/ 1473518 w 2375535"/>
              <a:gd name="connsiteY41" fmla="*/ 1186815 h 2374582"/>
              <a:gd name="connsiteX42" fmla="*/ 1372553 w 2375535"/>
              <a:gd name="connsiteY42" fmla="*/ 1287780 h 2374582"/>
              <a:gd name="connsiteX43" fmla="*/ 1187768 w 2375535"/>
              <a:gd name="connsiteY43" fmla="*/ 733425 h 2374582"/>
              <a:gd name="connsiteX44" fmla="*/ 1128713 w 2375535"/>
              <a:gd name="connsiteY44" fmla="*/ 674370 h 2374582"/>
              <a:gd name="connsiteX45" fmla="*/ 1187768 w 2375535"/>
              <a:gd name="connsiteY45" fmla="*/ 615315 h 2374582"/>
              <a:gd name="connsiteX46" fmla="*/ 1246823 w 2375535"/>
              <a:gd name="connsiteY46" fmla="*/ 674370 h 2374582"/>
              <a:gd name="connsiteX47" fmla="*/ 1187768 w 2375535"/>
              <a:gd name="connsiteY47" fmla="*/ 733425 h 2374582"/>
              <a:gd name="connsiteX48" fmla="*/ 1103948 w 2375535"/>
              <a:gd name="connsiteY48" fmla="*/ 817245 h 2374582"/>
              <a:gd name="connsiteX49" fmla="*/ 818198 w 2375535"/>
              <a:gd name="connsiteY49" fmla="*/ 1102995 h 2374582"/>
              <a:gd name="connsiteX50" fmla="*/ 759143 w 2375535"/>
              <a:gd name="connsiteY50" fmla="*/ 1043940 h 2374582"/>
              <a:gd name="connsiteX51" fmla="*/ 1044893 w 2375535"/>
              <a:gd name="connsiteY51" fmla="*/ 758190 h 2374582"/>
              <a:gd name="connsiteX52" fmla="*/ 1103948 w 2375535"/>
              <a:gd name="connsiteY52" fmla="*/ 817245 h 2374582"/>
              <a:gd name="connsiteX53" fmla="*/ 674370 w 2375535"/>
              <a:gd name="connsiteY53" fmla="*/ 1127760 h 2374582"/>
              <a:gd name="connsiteX54" fmla="*/ 733425 w 2375535"/>
              <a:gd name="connsiteY54" fmla="*/ 1186815 h 2374582"/>
              <a:gd name="connsiteX55" fmla="*/ 674370 w 2375535"/>
              <a:gd name="connsiteY55" fmla="*/ 1245870 h 2374582"/>
              <a:gd name="connsiteX56" fmla="*/ 615315 w 2375535"/>
              <a:gd name="connsiteY56" fmla="*/ 1186815 h 2374582"/>
              <a:gd name="connsiteX57" fmla="*/ 674370 w 2375535"/>
              <a:gd name="connsiteY57" fmla="*/ 1127760 h 2374582"/>
              <a:gd name="connsiteX58" fmla="*/ 759143 w 2375535"/>
              <a:gd name="connsiteY58" fmla="*/ 1330643 h 2374582"/>
              <a:gd name="connsiteX59" fmla="*/ 818198 w 2375535"/>
              <a:gd name="connsiteY59" fmla="*/ 1271588 h 2374582"/>
              <a:gd name="connsiteX60" fmla="*/ 1103948 w 2375535"/>
              <a:gd name="connsiteY60" fmla="*/ 1557338 h 2374582"/>
              <a:gd name="connsiteX61" fmla="*/ 1044893 w 2375535"/>
              <a:gd name="connsiteY61" fmla="*/ 1616393 h 2374582"/>
              <a:gd name="connsiteX62" fmla="*/ 759143 w 2375535"/>
              <a:gd name="connsiteY62" fmla="*/ 1330643 h 2374582"/>
              <a:gd name="connsiteX63" fmla="*/ 1187768 w 2375535"/>
              <a:gd name="connsiteY63" fmla="*/ 1641158 h 2374582"/>
              <a:gd name="connsiteX64" fmla="*/ 1246823 w 2375535"/>
              <a:gd name="connsiteY64" fmla="*/ 1700213 h 2374582"/>
              <a:gd name="connsiteX65" fmla="*/ 1187768 w 2375535"/>
              <a:gd name="connsiteY65" fmla="*/ 1759268 h 2374582"/>
              <a:gd name="connsiteX66" fmla="*/ 1128713 w 2375535"/>
              <a:gd name="connsiteY66" fmla="*/ 1700213 h 2374582"/>
              <a:gd name="connsiteX67" fmla="*/ 1187768 w 2375535"/>
              <a:gd name="connsiteY67" fmla="*/ 1641158 h 2374582"/>
              <a:gd name="connsiteX68" fmla="*/ 1271588 w 2375535"/>
              <a:gd name="connsiteY68" fmla="*/ 1556385 h 2374582"/>
              <a:gd name="connsiteX69" fmla="*/ 1557338 w 2375535"/>
              <a:gd name="connsiteY69" fmla="*/ 1270635 h 2374582"/>
              <a:gd name="connsiteX70" fmla="*/ 1616393 w 2375535"/>
              <a:gd name="connsiteY70" fmla="*/ 1329690 h 2374582"/>
              <a:gd name="connsiteX71" fmla="*/ 1330643 w 2375535"/>
              <a:gd name="connsiteY71" fmla="*/ 1615440 h 2374582"/>
              <a:gd name="connsiteX72" fmla="*/ 1271588 w 2375535"/>
              <a:gd name="connsiteY72" fmla="*/ 1556385 h 2374582"/>
              <a:gd name="connsiteX73" fmla="*/ 1701165 w 2375535"/>
              <a:gd name="connsiteY73" fmla="*/ 1246823 h 2374582"/>
              <a:gd name="connsiteX74" fmla="*/ 1642110 w 2375535"/>
              <a:gd name="connsiteY74" fmla="*/ 1187768 h 2374582"/>
              <a:gd name="connsiteX75" fmla="*/ 1701165 w 2375535"/>
              <a:gd name="connsiteY75" fmla="*/ 1128713 h 2374582"/>
              <a:gd name="connsiteX76" fmla="*/ 1760220 w 2375535"/>
              <a:gd name="connsiteY76" fmla="*/ 1187768 h 2374582"/>
              <a:gd name="connsiteX77" fmla="*/ 1701165 w 2375535"/>
              <a:gd name="connsiteY77" fmla="*/ 1246823 h 2374582"/>
              <a:gd name="connsiteX78" fmla="*/ 1634490 w 2375535"/>
              <a:gd name="connsiteY78" fmla="*/ 168593 h 2374582"/>
              <a:gd name="connsiteX79" fmla="*/ 1878330 w 2375535"/>
              <a:gd name="connsiteY79" fmla="*/ 412432 h 2374582"/>
              <a:gd name="connsiteX80" fmla="*/ 1515428 w 2375535"/>
              <a:gd name="connsiteY80" fmla="*/ 775335 h 2374582"/>
              <a:gd name="connsiteX81" fmla="*/ 1331595 w 2375535"/>
              <a:gd name="connsiteY81" fmla="*/ 589598 h 2374582"/>
              <a:gd name="connsiteX82" fmla="*/ 1331595 w 2375535"/>
              <a:gd name="connsiteY82" fmla="*/ 589598 h 2374582"/>
              <a:gd name="connsiteX83" fmla="*/ 1272540 w 2375535"/>
              <a:gd name="connsiteY83" fmla="*/ 530543 h 2374582"/>
              <a:gd name="connsiteX84" fmla="*/ 1634490 w 2375535"/>
              <a:gd name="connsiteY84" fmla="*/ 168593 h 2374582"/>
              <a:gd name="connsiteX85" fmla="*/ 741045 w 2375535"/>
              <a:gd name="connsiteY85" fmla="*/ 168593 h 2374582"/>
              <a:gd name="connsiteX86" fmla="*/ 1103948 w 2375535"/>
              <a:gd name="connsiteY86" fmla="*/ 530543 h 2374582"/>
              <a:gd name="connsiteX87" fmla="*/ 1044893 w 2375535"/>
              <a:gd name="connsiteY87" fmla="*/ 589598 h 2374582"/>
              <a:gd name="connsiteX88" fmla="*/ 1044893 w 2375535"/>
              <a:gd name="connsiteY88" fmla="*/ 589598 h 2374582"/>
              <a:gd name="connsiteX89" fmla="*/ 859155 w 2375535"/>
              <a:gd name="connsiteY89" fmla="*/ 774383 h 2374582"/>
              <a:gd name="connsiteX90" fmla="*/ 497205 w 2375535"/>
              <a:gd name="connsiteY90" fmla="*/ 412432 h 2374582"/>
              <a:gd name="connsiteX91" fmla="*/ 741045 w 2375535"/>
              <a:gd name="connsiteY91" fmla="*/ 168593 h 2374582"/>
              <a:gd name="connsiteX92" fmla="*/ 168593 w 2375535"/>
              <a:gd name="connsiteY92" fmla="*/ 741045 h 2374582"/>
              <a:gd name="connsiteX93" fmla="*/ 412433 w 2375535"/>
              <a:gd name="connsiteY93" fmla="*/ 497205 h 2374582"/>
              <a:gd name="connsiteX94" fmla="*/ 775335 w 2375535"/>
              <a:gd name="connsiteY94" fmla="*/ 860108 h 2374582"/>
              <a:gd name="connsiteX95" fmla="*/ 531495 w 2375535"/>
              <a:gd name="connsiteY95" fmla="*/ 1102995 h 2374582"/>
              <a:gd name="connsiteX96" fmla="*/ 168593 w 2375535"/>
              <a:gd name="connsiteY96" fmla="*/ 741045 h 2374582"/>
              <a:gd name="connsiteX97" fmla="*/ 168593 w 2375535"/>
              <a:gd name="connsiteY97" fmla="*/ 1633538 h 2374582"/>
              <a:gd name="connsiteX98" fmla="*/ 531495 w 2375535"/>
              <a:gd name="connsiteY98" fmla="*/ 1271588 h 2374582"/>
              <a:gd name="connsiteX99" fmla="*/ 775335 w 2375535"/>
              <a:gd name="connsiteY99" fmla="*/ 1515428 h 2374582"/>
              <a:gd name="connsiteX100" fmla="*/ 412433 w 2375535"/>
              <a:gd name="connsiteY100" fmla="*/ 1878330 h 2374582"/>
              <a:gd name="connsiteX101" fmla="*/ 168593 w 2375535"/>
              <a:gd name="connsiteY101" fmla="*/ 1633538 h 2374582"/>
              <a:gd name="connsiteX102" fmla="*/ 741045 w 2375535"/>
              <a:gd name="connsiteY102" fmla="*/ 2205990 h 2374582"/>
              <a:gd name="connsiteX103" fmla="*/ 497205 w 2375535"/>
              <a:gd name="connsiteY103" fmla="*/ 1962150 h 2374582"/>
              <a:gd name="connsiteX104" fmla="*/ 860108 w 2375535"/>
              <a:gd name="connsiteY104" fmla="*/ 1599248 h 2374582"/>
              <a:gd name="connsiteX105" fmla="*/ 1044893 w 2375535"/>
              <a:gd name="connsiteY105" fmla="*/ 1784033 h 2374582"/>
              <a:gd name="connsiteX106" fmla="*/ 1044893 w 2375535"/>
              <a:gd name="connsiteY106" fmla="*/ 1784033 h 2374582"/>
              <a:gd name="connsiteX107" fmla="*/ 1103948 w 2375535"/>
              <a:gd name="connsiteY107" fmla="*/ 1843088 h 2374582"/>
              <a:gd name="connsiteX108" fmla="*/ 741045 w 2375535"/>
              <a:gd name="connsiteY108" fmla="*/ 2205990 h 2374582"/>
              <a:gd name="connsiteX109" fmla="*/ 1634490 w 2375535"/>
              <a:gd name="connsiteY109" fmla="*/ 2205990 h 2374582"/>
              <a:gd name="connsiteX110" fmla="*/ 1271588 w 2375535"/>
              <a:gd name="connsiteY110" fmla="*/ 1843088 h 2374582"/>
              <a:gd name="connsiteX111" fmla="*/ 1330643 w 2375535"/>
              <a:gd name="connsiteY111" fmla="*/ 1784033 h 2374582"/>
              <a:gd name="connsiteX112" fmla="*/ 1330643 w 2375535"/>
              <a:gd name="connsiteY112" fmla="*/ 1784033 h 2374582"/>
              <a:gd name="connsiteX113" fmla="*/ 1515428 w 2375535"/>
              <a:gd name="connsiteY113" fmla="*/ 1599248 h 2374582"/>
              <a:gd name="connsiteX114" fmla="*/ 1878330 w 2375535"/>
              <a:gd name="connsiteY114" fmla="*/ 1962150 h 2374582"/>
              <a:gd name="connsiteX115" fmla="*/ 1634490 w 2375535"/>
              <a:gd name="connsiteY115" fmla="*/ 2205990 h 2374582"/>
              <a:gd name="connsiteX116" fmla="*/ 2206943 w 2375535"/>
              <a:gd name="connsiteY116" fmla="*/ 1633538 h 2374582"/>
              <a:gd name="connsiteX117" fmla="*/ 1963103 w 2375535"/>
              <a:gd name="connsiteY117" fmla="*/ 1877378 h 2374582"/>
              <a:gd name="connsiteX118" fmla="*/ 1600200 w 2375535"/>
              <a:gd name="connsiteY118" fmla="*/ 1514475 h 2374582"/>
              <a:gd name="connsiteX119" fmla="*/ 1844040 w 2375535"/>
              <a:gd name="connsiteY119" fmla="*/ 1270635 h 2374582"/>
              <a:gd name="connsiteX120" fmla="*/ 2206943 w 2375535"/>
              <a:gd name="connsiteY120" fmla="*/ 1633538 h 237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75535" h="2374582">
                <a:moveTo>
                  <a:pt x="2375535" y="741045"/>
                </a:moveTo>
                <a:lnTo>
                  <a:pt x="1634490" y="0"/>
                </a:lnTo>
                <a:lnTo>
                  <a:pt x="1187768" y="446723"/>
                </a:lnTo>
                <a:lnTo>
                  <a:pt x="741045" y="0"/>
                </a:lnTo>
                <a:lnTo>
                  <a:pt x="0" y="741045"/>
                </a:lnTo>
                <a:lnTo>
                  <a:pt x="446723" y="1187768"/>
                </a:lnTo>
                <a:lnTo>
                  <a:pt x="0" y="1633538"/>
                </a:lnTo>
                <a:lnTo>
                  <a:pt x="741045" y="2374583"/>
                </a:lnTo>
                <a:lnTo>
                  <a:pt x="1187768" y="1927860"/>
                </a:lnTo>
                <a:lnTo>
                  <a:pt x="1634490" y="2374583"/>
                </a:lnTo>
                <a:lnTo>
                  <a:pt x="2375535" y="1633538"/>
                </a:lnTo>
                <a:lnTo>
                  <a:pt x="1928813" y="1186815"/>
                </a:lnTo>
                <a:lnTo>
                  <a:pt x="2375535" y="741045"/>
                </a:lnTo>
                <a:close/>
                <a:moveTo>
                  <a:pt x="2206943" y="741045"/>
                </a:moveTo>
                <a:lnTo>
                  <a:pt x="1844040" y="1103948"/>
                </a:lnTo>
                <a:lnTo>
                  <a:pt x="1600200" y="860108"/>
                </a:lnTo>
                <a:lnTo>
                  <a:pt x="1963103" y="497205"/>
                </a:lnTo>
                <a:lnTo>
                  <a:pt x="2206943" y="741045"/>
                </a:lnTo>
                <a:close/>
                <a:moveTo>
                  <a:pt x="1616393" y="1043940"/>
                </a:moveTo>
                <a:lnTo>
                  <a:pt x="1557338" y="1102995"/>
                </a:lnTo>
                <a:lnTo>
                  <a:pt x="1271588" y="817245"/>
                </a:lnTo>
                <a:lnTo>
                  <a:pt x="1330643" y="758190"/>
                </a:lnTo>
                <a:lnTo>
                  <a:pt x="1616393" y="1043940"/>
                </a:lnTo>
                <a:close/>
                <a:moveTo>
                  <a:pt x="1187768" y="1102995"/>
                </a:moveTo>
                <a:lnTo>
                  <a:pt x="1086803" y="1002030"/>
                </a:lnTo>
                <a:lnTo>
                  <a:pt x="1187768" y="902018"/>
                </a:lnTo>
                <a:lnTo>
                  <a:pt x="1288733" y="1002983"/>
                </a:lnTo>
                <a:lnTo>
                  <a:pt x="1187768" y="1102995"/>
                </a:lnTo>
                <a:close/>
                <a:moveTo>
                  <a:pt x="1002983" y="1086803"/>
                </a:moveTo>
                <a:lnTo>
                  <a:pt x="1103948" y="1187768"/>
                </a:lnTo>
                <a:lnTo>
                  <a:pt x="1002983" y="1288733"/>
                </a:lnTo>
                <a:lnTo>
                  <a:pt x="902018" y="1187768"/>
                </a:lnTo>
                <a:lnTo>
                  <a:pt x="1002983" y="1086803"/>
                </a:lnTo>
                <a:close/>
                <a:moveTo>
                  <a:pt x="1187768" y="1271588"/>
                </a:moveTo>
                <a:lnTo>
                  <a:pt x="1288733" y="1372553"/>
                </a:lnTo>
                <a:lnTo>
                  <a:pt x="1187768" y="1473518"/>
                </a:lnTo>
                <a:lnTo>
                  <a:pt x="1086803" y="1372553"/>
                </a:lnTo>
                <a:lnTo>
                  <a:pt x="1187768" y="1271588"/>
                </a:lnTo>
                <a:close/>
                <a:moveTo>
                  <a:pt x="1372553" y="1287780"/>
                </a:moveTo>
                <a:lnTo>
                  <a:pt x="1271588" y="1186815"/>
                </a:lnTo>
                <a:lnTo>
                  <a:pt x="1372553" y="1085850"/>
                </a:lnTo>
                <a:lnTo>
                  <a:pt x="1473518" y="1186815"/>
                </a:lnTo>
                <a:lnTo>
                  <a:pt x="1372553" y="1287780"/>
                </a:lnTo>
                <a:close/>
                <a:moveTo>
                  <a:pt x="1187768" y="733425"/>
                </a:moveTo>
                <a:lnTo>
                  <a:pt x="1128713" y="674370"/>
                </a:lnTo>
                <a:lnTo>
                  <a:pt x="1187768" y="615315"/>
                </a:lnTo>
                <a:lnTo>
                  <a:pt x="1246823" y="674370"/>
                </a:lnTo>
                <a:lnTo>
                  <a:pt x="1187768" y="733425"/>
                </a:lnTo>
                <a:close/>
                <a:moveTo>
                  <a:pt x="1103948" y="817245"/>
                </a:moveTo>
                <a:lnTo>
                  <a:pt x="818198" y="1102995"/>
                </a:lnTo>
                <a:lnTo>
                  <a:pt x="759143" y="1043940"/>
                </a:lnTo>
                <a:lnTo>
                  <a:pt x="1044893" y="758190"/>
                </a:lnTo>
                <a:lnTo>
                  <a:pt x="1103948" y="817245"/>
                </a:lnTo>
                <a:close/>
                <a:moveTo>
                  <a:pt x="674370" y="1127760"/>
                </a:moveTo>
                <a:lnTo>
                  <a:pt x="733425" y="1186815"/>
                </a:lnTo>
                <a:lnTo>
                  <a:pt x="674370" y="1245870"/>
                </a:lnTo>
                <a:lnTo>
                  <a:pt x="615315" y="1186815"/>
                </a:lnTo>
                <a:lnTo>
                  <a:pt x="674370" y="1127760"/>
                </a:lnTo>
                <a:close/>
                <a:moveTo>
                  <a:pt x="759143" y="1330643"/>
                </a:moveTo>
                <a:lnTo>
                  <a:pt x="818198" y="1271588"/>
                </a:lnTo>
                <a:lnTo>
                  <a:pt x="1103948" y="1557338"/>
                </a:lnTo>
                <a:lnTo>
                  <a:pt x="1044893" y="1616393"/>
                </a:lnTo>
                <a:lnTo>
                  <a:pt x="759143" y="1330643"/>
                </a:lnTo>
                <a:close/>
                <a:moveTo>
                  <a:pt x="1187768" y="1641158"/>
                </a:moveTo>
                <a:lnTo>
                  <a:pt x="1246823" y="1700213"/>
                </a:lnTo>
                <a:lnTo>
                  <a:pt x="1187768" y="1759268"/>
                </a:lnTo>
                <a:lnTo>
                  <a:pt x="1128713" y="1700213"/>
                </a:lnTo>
                <a:lnTo>
                  <a:pt x="1187768" y="1641158"/>
                </a:lnTo>
                <a:close/>
                <a:moveTo>
                  <a:pt x="1271588" y="1556385"/>
                </a:moveTo>
                <a:lnTo>
                  <a:pt x="1557338" y="1270635"/>
                </a:lnTo>
                <a:lnTo>
                  <a:pt x="1616393" y="1329690"/>
                </a:lnTo>
                <a:lnTo>
                  <a:pt x="1330643" y="1615440"/>
                </a:lnTo>
                <a:lnTo>
                  <a:pt x="1271588" y="1556385"/>
                </a:lnTo>
                <a:close/>
                <a:moveTo>
                  <a:pt x="1701165" y="1246823"/>
                </a:moveTo>
                <a:lnTo>
                  <a:pt x="1642110" y="1187768"/>
                </a:lnTo>
                <a:lnTo>
                  <a:pt x="1701165" y="1128713"/>
                </a:lnTo>
                <a:lnTo>
                  <a:pt x="1760220" y="1187768"/>
                </a:lnTo>
                <a:lnTo>
                  <a:pt x="1701165" y="1246823"/>
                </a:lnTo>
                <a:close/>
                <a:moveTo>
                  <a:pt x="1634490" y="168593"/>
                </a:moveTo>
                <a:lnTo>
                  <a:pt x="1878330" y="412432"/>
                </a:lnTo>
                <a:lnTo>
                  <a:pt x="1515428" y="775335"/>
                </a:lnTo>
                <a:lnTo>
                  <a:pt x="1331595" y="589598"/>
                </a:lnTo>
                <a:lnTo>
                  <a:pt x="1331595" y="589598"/>
                </a:lnTo>
                <a:lnTo>
                  <a:pt x="1272540" y="530543"/>
                </a:lnTo>
                <a:lnTo>
                  <a:pt x="1634490" y="168593"/>
                </a:lnTo>
                <a:close/>
                <a:moveTo>
                  <a:pt x="741045" y="168593"/>
                </a:moveTo>
                <a:lnTo>
                  <a:pt x="1103948" y="530543"/>
                </a:lnTo>
                <a:lnTo>
                  <a:pt x="1044893" y="589598"/>
                </a:lnTo>
                <a:lnTo>
                  <a:pt x="1044893" y="589598"/>
                </a:lnTo>
                <a:lnTo>
                  <a:pt x="859155" y="774383"/>
                </a:lnTo>
                <a:lnTo>
                  <a:pt x="497205" y="412432"/>
                </a:lnTo>
                <a:lnTo>
                  <a:pt x="741045" y="168593"/>
                </a:lnTo>
                <a:close/>
                <a:moveTo>
                  <a:pt x="168593" y="741045"/>
                </a:moveTo>
                <a:lnTo>
                  <a:pt x="412433" y="497205"/>
                </a:lnTo>
                <a:lnTo>
                  <a:pt x="775335" y="860108"/>
                </a:lnTo>
                <a:lnTo>
                  <a:pt x="531495" y="1102995"/>
                </a:lnTo>
                <a:lnTo>
                  <a:pt x="168593" y="741045"/>
                </a:lnTo>
                <a:close/>
                <a:moveTo>
                  <a:pt x="168593" y="1633538"/>
                </a:moveTo>
                <a:lnTo>
                  <a:pt x="531495" y="1271588"/>
                </a:lnTo>
                <a:lnTo>
                  <a:pt x="775335" y="1515428"/>
                </a:lnTo>
                <a:lnTo>
                  <a:pt x="412433" y="1878330"/>
                </a:lnTo>
                <a:lnTo>
                  <a:pt x="168593" y="1633538"/>
                </a:lnTo>
                <a:close/>
                <a:moveTo>
                  <a:pt x="741045" y="2205990"/>
                </a:moveTo>
                <a:lnTo>
                  <a:pt x="497205" y="1962150"/>
                </a:lnTo>
                <a:lnTo>
                  <a:pt x="860108" y="1599248"/>
                </a:lnTo>
                <a:lnTo>
                  <a:pt x="1044893" y="1784033"/>
                </a:lnTo>
                <a:lnTo>
                  <a:pt x="1044893" y="1784033"/>
                </a:lnTo>
                <a:lnTo>
                  <a:pt x="1103948" y="1843088"/>
                </a:lnTo>
                <a:lnTo>
                  <a:pt x="741045" y="2205990"/>
                </a:lnTo>
                <a:close/>
                <a:moveTo>
                  <a:pt x="1634490" y="2205990"/>
                </a:moveTo>
                <a:lnTo>
                  <a:pt x="1271588" y="1843088"/>
                </a:lnTo>
                <a:lnTo>
                  <a:pt x="1330643" y="1784033"/>
                </a:lnTo>
                <a:lnTo>
                  <a:pt x="1330643" y="1784033"/>
                </a:lnTo>
                <a:lnTo>
                  <a:pt x="1515428" y="1599248"/>
                </a:lnTo>
                <a:lnTo>
                  <a:pt x="1878330" y="1962150"/>
                </a:lnTo>
                <a:lnTo>
                  <a:pt x="1634490" y="2205990"/>
                </a:lnTo>
                <a:close/>
                <a:moveTo>
                  <a:pt x="2206943" y="1633538"/>
                </a:moveTo>
                <a:lnTo>
                  <a:pt x="1963103" y="1877378"/>
                </a:lnTo>
                <a:lnTo>
                  <a:pt x="1600200" y="1514475"/>
                </a:lnTo>
                <a:lnTo>
                  <a:pt x="1844040" y="1270635"/>
                </a:lnTo>
                <a:lnTo>
                  <a:pt x="2206943" y="1633538"/>
                </a:lnTo>
                <a:close/>
              </a:path>
            </a:pathLst>
          </a:custGeom>
          <a:solidFill>
            <a:schemeClr val="bg1"/>
          </a:solidFill>
          <a:ln w="9525" cap="flat">
            <a:noFill/>
            <a:prstDash val="solid"/>
            <a:miter/>
          </a:ln>
        </p:spPr>
        <p:txBody>
          <a:bodyPr rtlCol="0" anchor="ctr"/>
          <a:lstStyle/>
          <a:p>
            <a:endParaRPr lang="en-US">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9" name="Graphic 43">
            <a:extLst>
              <a:ext uri="{FF2B5EF4-FFF2-40B4-BE49-F238E27FC236}">
                <a16:creationId xmlns:a16="http://schemas.microsoft.com/office/drawing/2014/main" id="{CC979CC7-9ABA-C3D8-1894-88B328C9C625}"/>
              </a:ext>
            </a:extLst>
          </p:cNvPr>
          <p:cNvSpPr>
            <a:spLocks noChangeAspect="1"/>
          </p:cNvSpPr>
          <p:nvPr userDrawn="1"/>
        </p:nvSpPr>
        <p:spPr>
          <a:xfrm>
            <a:off x="552450" y="1233488"/>
            <a:ext cx="2625598" cy="722244"/>
          </a:xfrm>
          <a:custGeom>
            <a:avLst/>
            <a:gdLst>
              <a:gd name="connsiteX0" fmla="*/ 219924 w 2610377"/>
              <a:gd name="connsiteY0" fmla="*/ 234161 h 717496"/>
              <a:gd name="connsiteX1" fmla="*/ 308677 w 2610377"/>
              <a:gd name="connsiteY1" fmla="*/ 120016 h 717496"/>
              <a:gd name="connsiteX2" fmla="*/ 173590 w 2610377"/>
              <a:gd name="connsiteY2" fmla="*/ 0 h 717496"/>
              <a:gd name="connsiteX3" fmla="*/ 653 w 2610377"/>
              <a:gd name="connsiteY3" fmla="*/ 0 h 717496"/>
              <a:gd name="connsiteX4" fmla="*/ 653 w 2610377"/>
              <a:gd name="connsiteY4" fmla="*/ 404401 h 717496"/>
              <a:gd name="connsiteX5" fmla="*/ 49597 w 2610377"/>
              <a:gd name="connsiteY5" fmla="*/ 404401 h 717496"/>
              <a:gd name="connsiteX6" fmla="*/ 49597 w 2610377"/>
              <a:gd name="connsiteY6" fmla="*/ 240032 h 717496"/>
              <a:gd name="connsiteX7" fmla="*/ 167064 w 2610377"/>
              <a:gd name="connsiteY7" fmla="*/ 240032 h 717496"/>
              <a:gd name="connsiteX8" fmla="*/ 262343 w 2610377"/>
              <a:gd name="connsiteY8" fmla="*/ 404401 h 717496"/>
              <a:gd name="connsiteX9" fmla="*/ 320424 w 2610377"/>
              <a:gd name="connsiteY9" fmla="*/ 404401 h 717496"/>
              <a:gd name="connsiteX10" fmla="*/ 219924 w 2610377"/>
              <a:gd name="connsiteY10" fmla="*/ 234161 h 717496"/>
              <a:gd name="connsiteX11" fmla="*/ 49597 w 2610377"/>
              <a:gd name="connsiteY11" fmla="*/ 196330 h 717496"/>
              <a:gd name="connsiteX12" fmla="*/ 49597 w 2610377"/>
              <a:gd name="connsiteY12" fmla="*/ 45006 h 717496"/>
              <a:gd name="connsiteX13" fmla="*/ 170980 w 2610377"/>
              <a:gd name="connsiteY13" fmla="*/ 45006 h 717496"/>
              <a:gd name="connsiteX14" fmla="*/ 256470 w 2610377"/>
              <a:gd name="connsiteY14" fmla="*/ 120668 h 717496"/>
              <a:gd name="connsiteX15" fmla="*/ 170980 w 2610377"/>
              <a:gd name="connsiteY15" fmla="*/ 196983 h 717496"/>
              <a:gd name="connsiteX16" fmla="*/ 49597 w 2610377"/>
              <a:gd name="connsiteY16" fmla="*/ 196983 h 717496"/>
              <a:gd name="connsiteX17" fmla="*/ 1414825 w 2610377"/>
              <a:gd name="connsiteY17" fmla="*/ 652 h 717496"/>
              <a:gd name="connsiteX18" fmla="*/ 1465075 w 2610377"/>
              <a:gd name="connsiteY18" fmla="*/ 652 h 717496"/>
              <a:gd name="connsiteX19" fmla="*/ 1344997 w 2610377"/>
              <a:gd name="connsiteY19" fmla="*/ 405054 h 717496"/>
              <a:gd name="connsiteX20" fmla="*/ 1273212 w 2610377"/>
              <a:gd name="connsiteY20" fmla="*/ 405054 h 717496"/>
              <a:gd name="connsiteX21" fmla="*/ 1172712 w 2610377"/>
              <a:gd name="connsiteY21" fmla="*/ 75662 h 717496"/>
              <a:gd name="connsiteX22" fmla="*/ 1072213 w 2610377"/>
              <a:gd name="connsiteY22" fmla="*/ 405054 h 717496"/>
              <a:gd name="connsiteX23" fmla="*/ 1000427 w 2610377"/>
              <a:gd name="connsiteY23" fmla="*/ 405054 h 717496"/>
              <a:gd name="connsiteX24" fmla="*/ 880350 w 2610377"/>
              <a:gd name="connsiteY24" fmla="*/ 652 h 717496"/>
              <a:gd name="connsiteX25" fmla="*/ 930600 w 2610377"/>
              <a:gd name="connsiteY25" fmla="*/ 652 h 717496"/>
              <a:gd name="connsiteX26" fmla="*/ 1036973 w 2610377"/>
              <a:gd name="connsiteY26" fmla="*/ 354830 h 717496"/>
              <a:gd name="connsiteX27" fmla="*/ 1146609 w 2610377"/>
              <a:gd name="connsiteY27" fmla="*/ 3914 h 717496"/>
              <a:gd name="connsiteX28" fmla="*/ 1198816 w 2610377"/>
              <a:gd name="connsiteY28" fmla="*/ 3914 h 717496"/>
              <a:gd name="connsiteX29" fmla="*/ 1308452 w 2610377"/>
              <a:gd name="connsiteY29" fmla="*/ 354830 h 717496"/>
              <a:gd name="connsiteX30" fmla="*/ 1414825 w 2610377"/>
              <a:gd name="connsiteY30" fmla="*/ 652 h 717496"/>
              <a:gd name="connsiteX31" fmla="*/ 1621697 w 2610377"/>
              <a:gd name="connsiteY31" fmla="*/ 652 h 717496"/>
              <a:gd name="connsiteX32" fmla="*/ 1670642 w 2610377"/>
              <a:gd name="connsiteY32" fmla="*/ 652 h 717496"/>
              <a:gd name="connsiteX33" fmla="*/ 1670642 w 2610377"/>
              <a:gd name="connsiteY33" fmla="*/ 405054 h 717496"/>
              <a:gd name="connsiteX34" fmla="*/ 1621697 w 2610377"/>
              <a:gd name="connsiteY34" fmla="*/ 405054 h 717496"/>
              <a:gd name="connsiteX35" fmla="*/ 1621697 w 2610377"/>
              <a:gd name="connsiteY35" fmla="*/ 652 h 717496"/>
              <a:gd name="connsiteX36" fmla="*/ 752442 w 2610377"/>
              <a:gd name="connsiteY36" fmla="*/ 405054 h 717496"/>
              <a:gd name="connsiteX37" fmla="*/ 467910 w 2610377"/>
              <a:gd name="connsiteY37" fmla="*/ 405054 h 717496"/>
              <a:gd name="connsiteX38" fmla="*/ 467910 w 2610377"/>
              <a:gd name="connsiteY38" fmla="*/ 652 h 717496"/>
              <a:gd name="connsiteX39" fmla="*/ 745916 w 2610377"/>
              <a:gd name="connsiteY39" fmla="*/ 652 h 717496"/>
              <a:gd name="connsiteX40" fmla="*/ 745916 w 2610377"/>
              <a:gd name="connsiteY40" fmla="*/ 45006 h 717496"/>
              <a:gd name="connsiteX41" fmla="*/ 516855 w 2610377"/>
              <a:gd name="connsiteY41" fmla="*/ 45006 h 717496"/>
              <a:gd name="connsiteX42" fmla="*/ 516855 w 2610377"/>
              <a:gd name="connsiteY42" fmla="*/ 174806 h 717496"/>
              <a:gd name="connsiteX43" fmla="*/ 714591 w 2610377"/>
              <a:gd name="connsiteY43" fmla="*/ 174806 h 717496"/>
              <a:gd name="connsiteX44" fmla="*/ 714591 w 2610377"/>
              <a:gd name="connsiteY44" fmla="*/ 219159 h 717496"/>
              <a:gd name="connsiteX45" fmla="*/ 516855 w 2610377"/>
              <a:gd name="connsiteY45" fmla="*/ 219159 h 717496"/>
              <a:gd name="connsiteX46" fmla="*/ 516855 w 2610377"/>
              <a:gd name="connsiteY46" fmla="*/ 360048 h 717496"/>
              <a:gd name="connsiteX47" fmla="*/ 752442 w 2610377"/>
              <a:gd name="connsiteY47" fmla="*/ 360048 h 717496"/>
              <a:gd name="connsiteX48" fmla="*/ 752442 w 2610377"/>
              <a:gd name="connsiteY48" fmla="*/ 405054 h 717496"/>
              <a:gd name="connsiteX49" fmla="*/ 2077861 w 2610377"/>
              <a:gd name="connsiteY49" fmla="*/ 234161 h 717496"/>
              <a:gd name="connsiteX50" fmla="*/ 2166614 w 2610377"/>
              <a:gd name="connsiteY50" fmla="*/ 120016 h 717496"/>
              <a:gd name="connsiteX51" fmla="*/ 2031527 w 2610377"/>
              <a:gd name="connsiteY51" fmla="*/ 0 h 717496"/>
              <a:gd name="connsiteX52" fmla="*/ 1858589 w 2610377"/>
              <a:gd name="connsiteY52" fmla="*/ 0 h 717496"/>
              <a:gd name="connsiteX53" fmla="*/ 1858589 w 2610377"/>
              <a:gd name="connsiteY53" fmla="*/ 404401 h 717496"/>
              <a:gd name="connsiteX54" fmla="*/ 1907534 w 2610377"/>
              <a:gd name="connsiteY54" fmla="*/ 404401 h 717496"/>
              <a:gd name="connsiteX55" fmla="*/ 1907534 w 2610377"/>
              <a:gd name="connsiteY55" fmla="*/ 240032 h 717496"/>
              <a:gd name="connsiteX56" fmla="*/ 2025001 w 2610377"/>
              <a:gd name="connsiteY56" fmla="*/ 240032 h 717496"/>
              <a:gd name="connsiteX57" fmla="*/ 2120280 w 2610377"/>
              <a:gd name="connsiteY57" fmla="*/ 404401 h 717496"/>
              <a:gd name="connsiteX58" fmla="*/ 2178360 w 2610377"/>
              <a:gd name="connsiteY58" fmla="*/ 404401 h 717496"/>
              <a:gd name="connsiteX59" fmla="*/ 2077861 w 2610377"/>
              <a:gd name="connsiteY59" fmla="*/ 234161 h 717496"/>
              <a:gd name="connsiteX60" fmla="*/ 1907534 w 2610377"/>
              <a:gd name="connsiteY60" fmla="*/ 196330 h 717496"/>
              <a:gd name="connsiteX61" fmla="*/ 1907534 w 2610377"/>
              <a:gd name="connsiteY61" fmla="*/ 45006 h 717496"/>
              <a:gd name="connsiteX62" fmla="*/ 2029569 w 2610377"/>
              <a:gd name="connsiteY62" fmla="*/ 45006 h 717496"/>
              <a:gd name="connsiteX63" fmla="*/ 2115059 w 2610377"/>
              <a:gd name="connsiteY63" fmla="*/ 120668 h 717496"/>
              <a:gd name="connsiteX64" fmla="*/ 2029569 w 2610377"/>
              <a:gd name="connsiteY64" fmla="*/ 196983 h 717496"/>
              <a:gd name="connsiteX65" fmla="*/ 1907534 w 2610377"/>
              <a:gd name="connsiteY65" fmla="*/ 196983 h 717496"/>
              <a:gd name="connsiteX66" fmla="*/ 2610378 w 2610377"/>
              <a:gd name="connsiteY66" fmla="*/ 652 h 717496"/>
              <a:gd name="connsiteX67" fmla="*/ 2610378 w 2610377"/>
              <a:gd name="connsiteY67" fmla="*/ 405054 h 717496"/>
              <a:gd name="connsiteX68" fmla="*/ 2325847 w 2610377"/>
              <a:gd name="connsiteY68" fmla="*/ 405054 h 717496"/>
              <a:gd name="connsiteX69" fmla="*/ 2325847 w 2610377"/>
              <a:gd name="connsiteY69" fmla="*/ 360700 h 717496"/>
              <a:gd name="connsiteX70" fmla="*/ 2561433 w 2610377"/>
              <a:gd name="connsiteY70" fmla="*/ 360700 h 717496"/>
              <a:gd name="connsiteX71" fmla="*/ 2561433 w 2610377"/>
              <a:gd name="connsiteY71" fmla="*/ 219812 h 717496"/>
              <a:gd name="connsiteX72" fmla="*/ 2363697 w 2610377"/>
              <a:gd name="connsiteY72" fmla="*/ 219812 h 717496"/>
              <a:gd name="connsiteX73" fmla="*/ 2363697 w 2610377"/>
              <a:gd name="connsiteY73" fmla="*/ 175458 h 717496"/>
              <a:gd name="connsiteX74" fmla="*/ 2561433 w 2610377"/>
              <a:gd name="connsiteY74" fmla="*/ 175458 h 717496"/>
              <a:gd name="connsiteX75" fmla="*/ 2561433 w 2610377"/>
              <a:gd name="connsiteY75" fmla="*/ 45658 h 717496"/>
              <a:gd name="connsiteX76" fmla="*/ 2332373 w 2610377"/>
              <a:gd name="connsiteY76" fmla="*/ 45658 h 717496"/>
              <a:gd name="connsiteX77" fmla="*/ 2332373 w 2610377"/>
              <a:gd name="connsiteY77" fmla="*/ 1305 h 717496"/>
              <a:gd name="connsiteX78" fmla="*/ 2610378 w 2610377"/>
              <a:gd name="connsiteY78" fmla="*/ 1305 h 717496"/>
              <a:gd name="connsiteX79" fmla="*/ 29367 w 2610377"/>
              <a:gd name="connsiteY79" fmla="*/ 715530 h 717496"/>
              <a:gd name="connsiteX80" fmla="*/ 0 w 2610377"/>
              <a:gd name="connsiteY80" fmla="*/ 715530 h 717496"/>
              <a:gd name="connsiteX81" fmla="*/ 0 w 2610377"/>
              <a:gd name="connsiteY81" fmla="*/ 567466 h 717496"/>
              <a:gd name="connsiteX82" fmla="*/ 29367 w 2610377"/>
              <a:gd name="connsiteY82" fmla="*/ 567466 h 717496"/>
              <a:gd name="connsiteX83" fmla="*/ 29367 w 2610377"/>
              <a:gd name="connsiteY83" fmla="*/ 715530 h 717496"/>
              <a:gd name="connsiteX84" fmla="*/ 78964 w 2610377"/>
              <a:gd name="connsiteY84" fmla="*/ 567466 h 717496"/>
              <a:gd name="connsiteX85" fmla="*/ 110289 w 2610377"/>
              <a:gd name="connsiteY85" fmla="*/ 567466 h 717496"/>
              <a:gd name="connsiteX86" fmla="*/ 157928 w 2610377"/>
              <a:gd name="connsiteY86" fmla="*/ 665958 h 717496"/>
              <a:gd name="connsiteX87" fmla="*/ 205567 w 2610377"/>
              <a:gd name="connsiteY87" fmla="*/ 567466 h 717496"/>
              <a:gd name="connsiteX88" fmla="*/ 236892 w 2610377"/>
              <a:gd name="connsiteY88" fmla="*/ 567466 h 717496"/>
              <a:gd name="connsiteX89" fmla="*/ 236892 w 2610377"/>
              <a:gd name="connsiteY89" fmla="*/ 715530 h 717496"/>
              <a:gd name="connsiteX90" fmla="*/ 207525 w 2610377"/>
              <a:gd name="connsiteY90" fmla="*/ 715530 h 717496"/>
              <a:gd name="connsiteX91" fmla="*/ 207525 w 2610377"/>
              <a:gd name="connsiteY91" fmla="*/ 624865 h 717496"/>
              <a:gd name="connsiteX92" fmla="*/ 167717 w 2610377"/>
              <a:gd name="connsiteY92" fmla="*/ 705746 h 717496"/>
              <a:gd name="connsiteX93" fmla="*/ 148792 w 2610377"/>
              <a:gd name="connsiteY93" fmla="*/ 705746 h 717496"/>
              <a:gd name="connsiteX94" fmla="*/ 108983 w 2610377"/>
              <a:gd name="connsiteY94" fmla="*/ 624865 h 717496"/>
              <a:gd name="connsiteX95" fmla="*/ 108983 w 2610377"/>
              <a:gd name="connsiteY95" fmla="*/ 715530 h 717496"/>
              <a:gd name="connsiteX96" fmla="*/ 79617 w 2610377"/>
              <a:gd name="connsiteY96" fmla="*/ 715530 h 717496"/>
              <a:gd name="connsiteX97" fmla="*/ 79617 w 2610377"/>
              <a:gd name="connsiteY97" fmla="*/ 567466 h 717496"/>
              <a:gd name="connsiteX98" fmla="*/ 281921 w 2610377"/>
              <a:gd name="connsiteY98" fmla="*/ 715530 h 717496"/>
              <a:gd name="connsiteX99" fmla="*/ 281921 w 2610377"/>
              <a:gd name="connsiteY99" fmla="*/ 567466 h 717496"/>
              <a:gd name="connsiteX100" fmla="*/ 346528 w 2610377"/>
              <a:gd name="connsiteY100" fmla="*/ 567466 h 717496"/>
              <a:gd name="connsiteX101" fmla="*/ 399388 w 2610377"/>
              <a:gd name="connsiteY101" fmla="*/ 616386 h 717496"/>
              <a:gd name="connsiteX102" fmla="*/ 346528 w 2610377"/>
              <a:gd name="connsiteY102" fmla="*/ 664653 h 717496"/>
              <a:gd name="connsiteX103" fmla="*/ 311288 w 2610377"/>
              <a:gd name="connsiteY103" fmla="*/ 664653 h 717496"/>
              <a:gd name="connsiteX104" fmla="*/ 311288 w 2610377"/>
              <a:gd name="connsiteY104" fmla="*/ 715530 h 717496"/>
              <a:gd name="connsiteX105" fmla="*/ 281921 w 2610377"/>
              <a:gd name="connsiteY105" fmla="*/ 715530 h 717496"/>
              <a:gd name="connsiteX106" fmla="*/ 311288 w 2610377"/>
              <a:gd name="connsiteY106" fmla="*/ 639215 h 717496"/>
              <a:gd name="connsiteX107" fmla="*/ 344570 w 2610377"/>
              <a:gd name="connsiteY107" fmla="*/ 639215 h 717496"/>
              <a:gd name="connsiteX108" fmla="*/ 369369 w 2610377"/>
              <a:gd name="connsiteY108" fmla="*/ 616386 h 717496"/>
              <a:gd name="connsiteX109" fmla="*/ 344570 w 2610377"/>
              <a:gd name="connsiteY109" fmla="*/ 592905 h 717496"/>
              <a:gd name="connsiteX110" fmla="*/ 311288 w 2610377"/>
              <a:gd name="connsiteY110" fmla="*/ 592905 h 717496"/>
              <a:gd name="connsiteX111" fmla="*/ 311288 w 2610377"/>
              <a:gd name="connsiteY111" fmla="*/ 639215 h 717496"/>
              <a:gd name="connsiteX112" fmla="*/ 426144 w 2610377"/>
              <a:gd name="connsiteY112" fmla="*/ 641824 h 717496"/>
              <a:gd name="connsiteX113" fmla="*/ 503803 w 2610377"/>
              <a:gd name="connsiteY113" fmla="*/ 565510 h 717496"/>
              <a:gd name="connsiteX114" fmla="*/ 581462 w 2610377"/>
              <a:gd name="connsiteY114" fmla="*/ 641824 h 717496"/>
              <a:gd name="connsiteX115" fmla="*/ 503803 w 2610377"/>
              <a:gd name="connsiteY115" fmla="*/ 717486 h 717496"/>
              <a:gd name="connsiteX116" fmla="*/ 426144 w 2610377"/>
              <a:gd name="connsiteY116" fmla="*/ 641824 h 717496"/>
              <a:gd name="connsiteX117" fmla="*/ 503803 w 2610377"/>
              <a:gd name="connsiteY117" fmla="*/ 690744 h 717496"/>
              <a:gd name="connsiteX118" fmla="*/ 551442 w 2610377"/>
              <a:gd name="connsiteY118" fmla="*/ 641824 h 717496"/>
              <a:gd name="connsiteX119" fmla="*/ 503803 w 2610377"/>
              <a:gd name="connsiteY119" fmla="*/ 592905 h 717496"/>
              <a:gd name="connsiteX120" fmla="*/ 456164 w 2610377"/>
              <a:gd name="connsiteY120" fmla="*/ 641824 h 717496"/>
              <a:gd name="connsiteX121" fmla="*/ 503803 w 2610377"/>
              <a:gd name="connsiteY121" fmla="*/ 690744 h 717496"/>
              <a:gd name="connsiteX122" fmla="*/ 629754 w 2610377"/>
              <a:gd name="connsiteY122" fmla="*/ 667262 h 717496"/>
              <a:gd name="connsiteX123" fmla="*/ 667604 w 2610377"/>
              <a:gd name="connsiteY123" fmla="*/ 691396 h 717496"/>
              <a:gd name="connsiteX124" fmla="*/ 693055 w 2610377"/>
              <a:gd name="connsiteY124" fmla="*/ 675089 h 717496"/>
              <a:gd name="connsiteX125" fmla="*/ 664341 w 2610377"/>
              <a:gd name="connsiteY125" fmla="*/ 654217 h 717496"/>
              <a:gd name="connsiteX126" fmla="*/ 612786 w 2610377"/>
              <a:gd name="connsiteY126" fmla="*/ 607907 h 717496"/>
              <a:gd name="connsiteX127" fmla="*/ 664994 w 2610377"/>
              <a:gd name="connsiteY127" fmla="*/ 565510 h 717496"/>
              <a:gd name="connsiteX128" fmla="*/ 719812 w 2610377"/>
              <a:gd name="connsiteY128" fmla="*/ 597470 h 717496"/>
              <a:gd name="connsiteX129" fmla="*/ 696971 w 2610377"/>
              <a:gd name="connsiteY129" fmla="*/ 613777 h 717496"/>
              <a:gd name="connsiteX130" fmla="*/ 664341 w 2610377"/>
              <a:gd name="connsiteY130" fmla="*/ 592252 h 717496"/>
              <a:gd name="connsiteX131" fmla="*/ 642806 w 2610377"/>
              <a:gd name="connsiteY131" fmla="*/ 607907 h 717496"/>
              <a:gd name="connsiteX132" fmla="*/ 672172 w 2610377"/>
              <a:gd name="connsiteY132" fmla="*/ 628127 h 717496"/>
              <a:gd name="connsiteX133" fmla="*/ 723075 w 2610377"/>
              <a:gd name="connsiteY133" fmla="*/ 674437 h 717496"/>
              <a:gd name="connsiteX134" fmla="*/ 666952 w 2610377"/>
              <a:gd name="connsiteY134" fmla="*/ 717486 h 717496"/>
              <a:gd name="connsiteX135" fmla="*/ 607566 w 2610377"/>
              <a:gd name="connsiteY135" fmla="*/ 682264 h 717496"/>
              <a:gd name="connsiteX136" fmla="*/ 629754 w 2610377"/>
              <a:gd name="connsiteY136" fmla="*/ 667262 h 717496"/>
              <a:gd name="connsiteX137" fmla="*/ 770714 w 2610377"/>
              <a:gd name="connsiteY137" fmla="*/ 667262 h 717496"/>
              <a:gd name="connsiteX138" fmla="*/ 808565 w 2610377"/>
              <a:gd name="connsiteY138" fmla="*/ 691396 h 717496"/>
              <a:gd name="connsiteX139" fmla="*/ 834016 w 2610377"/>
              <a:gd name="connsiteY139" fmla="*/ 675089 h 717496"/>
              <a:gd name="connsiteX140" fmla="*/ 805302 w 2610377"/>
              <a:gd name="connsiteY140" fmla="*/ 654217 h 717496"/>
              <a:gd name="connsiteX141" fmla="*/ 753747 w 2610377"/>
              <a:gd name="connsiteY141" fmla="*/ 607907 h 717496"/>
              <a:gd name="connsiteX142" fmla="*/ 805954 w 2610377"/>
              <a:gd name="connsiteY142" fmla="*/ 565510 h 717496"/>
              <a:gd name="connsiteX143" fmla="*/ 860772 w 2610377"/>
              <a:gd name="connsiteY143" fmla="*/ 597470 h 717496"/>
              <a:gd name="connsiteX144" fmla="*/ 837931 w 2610377"/>
              <a:gd name="connsiteY144" fmla="*/ 613777 h 717496"/>
              <a:gd name="connsiteX145" fmla="*/ 805302 w 2610377"/>
              <a:gd name="connsiteY145" fmla="*/ 592252 h 717496"/>
              <a:gd name="connsiteX146" fmla="*/ 783766 w 2610377"/>
              <a:gd name="connsiteY146" fmla="*/ 607907 h 717496"/>
              <a:gd name="connsiteX147" fmla="*/ 813133 w 2610377"/>
              <a:gd name="connsiteY147" fmla="*/ 628127 h 717496"/>
              <a:gd name="connsiteX148" fmla="*/ 864035 w 2610377"/>
              <a:gd name="connsiteY148" fmla="*/ 674437 h 717496"/>
              <a:gd name="connsiteX149" fmla="*/ 807912 w 2610377"/>
              <a:gd name="connsiteY149" fmla="*/ 717486 h 717496"/>
              <a:gd name="connsiteX150" fmla="*/ 748526 w 2610377"/>
              <a:gd name="connsiteY150" fmla="*/ 682264 h 717496"/>
              <a:gd name="connsiteX151" fmla="*/ 770714 w 2610377"/>
              <a:gd name="connsiteY151" fmla="*/ 667262 h 717496"/>
              <a:gd name="connsiteX152" fmla="*/ 933863 w 2610377"/>
              <a:gd name="connsiteY152" fmla="*/ 715530 h 717496"/>
              <a:gd name="connsiteX153" fmla="*/ 904496 w 2610377"/>
              <a:gd name="connsiteY153" fmla="*/ 715530 h 717496"/>
              <a:gd name="connsiteX154" fmla="*/ 904496 w 2610377"/>
              <a:gd name="connsiteY154" fmla="*/ 567466 h 717496"/>
              <a:gd name="connsiteX155" fmla="*/ 933863 w 2610377"/>
              <a:gd name="connsiteY155" fmla="*/ 567466 h 717496"/>
              <a:gd name="connsiteX156" fmla="*/ 933863 w 2610377"/>
              <a:gd name="connsiteY156" fmla="*/ 715530 h 717496"/>
              <a:gd name="connsiteX157" fmla="*/ 978892 w 2610377"/>
              <a:gd name="connsiteY157" fmla="*/ 567466 h 717496"/>
              <a:gd name="connsiteX158" fmla="*/ 1047414 w 2610377"/>
              <a:gd name="connsiteY158" fmla="*/ 567466 h 717496"/>
              <a:gd name="connsiteX159" fmla="*/ 1093096 w 2610377"/>
              <a:gd name="connsiteY159" fmla="*/ 607907 h 717496"/>
              <a:gd name="connsiteX160" fmla="*/ 1073518 w 2610377"/>
              <a:gd name="connsiteY160" fmla="*/ 638563 h 717496"/>
              <a:gd name="connsiteX161" fmla="*/ 1098316 w 2610377"/>
              <a:gd name="connsiteY161" fmla="*/ 674437 h 717496"/>
              <a:gd name="connsiteX162" fmla="*/ 1051982 w 2610377"/>
              <a:gd name="connsiteY162" fmla="*/ 715530 h 717496"/>
              <a:gd name="connsiteX163" fmla="*/ 978892 w 2610377"/>
              <a:gd name="connsiteY163" fmla="*/ 715530 h 717496"/>
              <a:gd name="connsiteX164" fmla="*/ 978892 w 2610377"/>
              <a:gd name="connsiteY164" fmla="*/ 567466 h 717496"/>
              <a:gd name="connsiteX165" fmla="*/ 1008258 w 2610377"/>
              <a:gd name="connsiteY165" fmla="*/ 592905 h 717496"/>
              <a:gd name="connsiteX166" fmla="*/ 1008258 w 2610377"/>
              <a:gd name="connsiteY166" fmla="*/ 629431 h 717496"/>
              <a:gd name="connsiteX167" fmla="*/ 1042846 w 2610377"/>
              <a:gd name="connsiteY167" fmla="*/ 629431 h 717496"/>
              <a:gd name="connsiteX168" fmla="*/ 1062424 w 2610377"/>
              <a:gd name="connsiteY168" fmla="*/ 611820 h 717496"/>
              <a:gd name="connsiteX169" fmla="*/ 1042193 w 2610377"/>
              <a:gd name="connsiteY169" fmla="*/ 593557 h 717496"/>
              <a:gd name="connsiteX170" fmla="*/ 1008258 w 2610377"/>
              <a:gd name="connsiteY170" fmla="*/ 593557 h 717496"/>
              <a:gd name="connsiteX171" fmla="*/ 1008258 w 2610377"/>
              <a:gd name="connsiteY171" fmla="*/ 652260 h 717496"/>
              <a:gd name="connsiteX172" fmla="*/ 1008258 w 2610377"/>
              <a:gd name="connsiteY172" fmla="*/ 690744 h 717496"/>
              <a:gd name="connsiteX173" fmla="*/ 1046762 w 2610377"/>
              <a:gd name="connsiteY173" fmla="*/ 690744 h 717496"/>
              <a:gd name="connsiteX174" fmla="*/ 1066340 w 2610377"/>
              <a:gd name="connsiteY174" fmla="*/ 672480 h 717496"/>
              <a:gd name="connsiteX175" fmla="*/ 1046762 w 2610377"/>
              <a:gd name="connsiteY175" fmla="*/ 652260 h 717496"/>
              <a:gd name="connsiteX176" fmla="*/ 1008258 w 2610377"/>
              <a:gd name="connsiteY176" fmla="*/ 652260 h 717496"/>
              <a:gd name="connsiteX177" fmla="*/ 1247108 w 2610377"/>
              <a:gd name="connsiteY177" fmla="*/ 715530 h 717496"/>
              <a:gd name="connsiteX178" fmla="*/ 1137472 w 2610377"/>
              <a:gd name="connsiteY178" fmla="*/ 715530 h 717496"/>
              <a:gd name="connsiteX179" fmla="*/ 1137472 w 2610377"/>
              <a:gd name="connsiteY179" fmla="*/ 567466 h 717496"/>
              <a:gd name="connsiteX180" fmla="*/ 1166839 w 2610377"/>
              <a:gd name="connsiteY180" fmla="*/ 567466 h 717496"/>
              <a:gd name="connsiteX181" fmla="*/ 1166839 w 2610377"/>
              <a:gd name="connsiteY181" fmla="*/ 690091 h 717496"/>
              <a:gd name="connsiteX182" fmla="*/ 1246455 w 2610377"/>
              <a:gd name="connsiteY182" fmla="*/ 690091 h 717496"/>
              <a:gd name="connsiteX183" fmla="*/ 1246455 w 2610377"/>
              <a:gd name="connsiteY183" fmla="*/ 715530 h 717496"/>
              <a:gd name="connsiteX184" fmla="*/ 1281043 w 2610377"/>
              <a:gd name="connsiteY184" fmla="*/ 567466 h 717496"/>
              <a:gd name="connsiteX185" fmla="*/ 1386763 w 2610377"/>
              <a:gd name="connsiteY185" fmla="*/ 567466 h 717496"/>
              <a:gd name="connsiteX186" fmla="*/ 1386763 w 2610377"/>
              <a:gd name="connsiteY186" fmla="*/ 592905 h 717496"/>
              <a:gd name="connsiteX187" fmla="*/ 1311062 w 2610377"/>
              <a:gd name="connsiteY187" fmla="*/ 592905 h 717496"/>
              <a:gd name="connsiteX188" fmla="*/ 1311062 w 2610377"/>
              <a:gd name="connsiteY188" fmla="*/ 626822 h 717496"/>
              <a:gd name="connsiteX189" fmla="*/ 1376974 w 2610377"/>
              <a:gd name="connsiteY189" fmla="*/ 626822 h 717496"/>
              <a:gd name="connsiteX190" fmla="*/ 1376974 w 2610377"/>
              <a:gd name="connsiteY190" fmla="*/ 652260 h 717496"/>
              <a:gd name="connsiteX191" fmla="*/ 1311062 w 2610377"/>
              <a:gd name="connsiteY191" fmla="*/ 652260 h 717496"/>
              <a:gd name="connsiteX192" fmla="*/ 1311062 w 2610377"/>
              <a:gd name="connsiteY192" fmla="*/ 690091 h 717496"/>
              <a:gd name="connsiteX193" fmla="*/ 1388721 w 2610377"/>
              <a:gd name="connsiteY193" fmla="*/ 690091 h 717496"/>
              <a:gd name="connsiteX194" fmla="*/ 1388721 w 2610377"/>
              <a:gd name="connsiteY194" fmla="*/ 715530 h 717496"/>
              <a:gd name="connsiteX195" fmla="*/ 1281696 w 2610377"/>
              <a:gd name="connsiteY195" fmla="*/ 715530 h 717496"/>
              <a:gd name="connsiteX196" fmla="*/ 1281696 w 2610377"/>
              <a:gd name="connsiteY196" fmla="*/ 567466 h 717496"/>
              <a:gd name="connsiteX197" fmla="*/ 1504230 w 2610377"/>
              <a:gd name="connsiteY197" fmla="*/ 715530 h 717496"/>
              <a:gd name="connsiteX198" fmla="*/ 1504230 w 2610377"/>
              <a:gd name="connsiteY198" fmla="*/ 567466 h 717496"/>
              <a:gd name="connsiteX199" fmla="*/ 1530987 w 2610377"/>
              <a:gd name="connsiteY199" fmla="*/ 567466 h 717496"/>
              <a:gd name="connsiteX200" fmla="*/ 1613214 w 2610377"/>
              <a:gd name="connsiteY200" fmla="*/ 669219 h 717496"/>
              <a:gd name="connsiteX201" fmla="*/ 1613214 w 2610377"/>
              <a:gd name="connsiteY201" fmla="*/ 567466 h 717496"/>
              <a:gd name="connsiteX202" fmla="*/ 1642580 w 2610377"/>
              <a:gd name="connsiteY202" fmla="*/ 567466 h 717496"/>
              <a:gd name="connsiteX203" fmla="*/ 1642580 w 2610377"/>
              <a:gd name="connsiteY203" fmla="*/ 715530 h 717496"/>
              <a:gd name="connsiteX204" fmla="*/ 1615171 w 2610377"/>
              <a:gd name="connsiteY204" fmla="*/ 715530 h 717496"/>
              <a:gd name="connsiteX205" fmla="*/ 1533597 w 2610377"/>
              <a:gd name="connsiteY205" fmla="*/ 615081 h 717496"/>
              <a:gd name="connsiteX206" fmla="*/ 1533597 w 2610377"/>
              <a:gd name="connsiteY206" fmla="*/ 715530 h 717496"/>
              <a:gd name="connsiteX207" fmla="*/ 1504230 w 2610377"/>
              <a:gd name="connsiteY207" fmla="*/ 715530 h 717496"/>
              <a:gd name="connsiteX208" fmla="*/ 1682388 w 2610377"/>
              <a:gd name="connsiteY208" fmla="*/ 641824 h 717496"/>
              <a:gd name="connsiteX209" fmla="*/ 1760047 w 2610377"/>
              <a:gd name="connsiteY209" fmla="*/ 565510 h 717496"/>
              <a:gd name="connsiteX210" fmla="*/ 1837706 w 2610377"/>
              <a:gd name="connsiteY210" fmla="*/ 641824 h 717496"/>
              <a:gd name="connsiteX211" fmla="*/ 1760047 w 2610377"/>
              <a:gd name="connsiteY211" fmla="*/ 717486 h 717496"/>
              <a:gd name="connsiteX212" fmla="*/ 1682388 w 2610377"/>
              <a:gd name="connsiteY212" fmla="*/ 641824 h 717496"/>
              <a:gd name="connsiteX213" fmla="*/ 1760047 w 2610377"/>
              <a:gd name="connsiteY213" fmla="*/ 690744 h 717496"/>
              <a:gd name="connsiteX214" fmla="*/ 1807687 w 2610377"/>
              <a:gd name="connsiteY214" fmla="*/ 641824 h 717496"/>
              <a:gd name="connsiteX215" fmla="*/ 1760047 w 2610377"/>
              <a:gd name="connsiteY215" fmla="*/ 592905 h 717496"/>
              <a:gd name="connsiteX216" fmla="*/ 1712408 w 2610377"/>
              <a:gd name="connsiteY216" fmla="*/ 641824 h 717496"/>
              <a:gd name="connsiteX217" fmla="*/ 1760047 w 2610377"/>
              <a:gd name="connsiteY217" fmla="*/ 690744 h 717496"/>
              <a:gd name="connsiteX218" fmla="*/ 1954520 w 2610377"/>
              <a:gd name="connsiteY218" fmla="*/ 567466 h 717496"/>
              <a:gd name="connsiteX219" fmla="*/ 1985845 w 2610377"/>
              <a:gd name="connsiteY219" fmla="*/ 567466 h 717496"/>
              <a:gd name="connsiteX220" fmla="*/ 2033485 w 2610377"/>
              <a:gd name="connsiteY220" fmla="*/ 665958 h 717496"/>
              <a:gd name="connsiteX221" fmla="*/ 2081124 w 2610377"/>
              <a:gd name="connsiteY221" fmla="*/ 567466 h 717496"/>
              <a:gd name="connsiteX222" fmla="*/ 2112448 w 2610377"/>
              <a:gd name="connsiteY222" fmla="*/ 567466 h 717496"/>
              <a:gd name="connsiteX223" fmla="*/ 2112448 w 2610377"/>
              <a:gd name="connsiteY223" fmla="*/ 715530 h 717496"/>
              <a:gd name="connsiteX224" fmla="*/ 2083082 w 2610377"/>
              <a:gd name="connsiteY224" fmla="*/ 715530 h 717496"/>
              <a:gd name="connsiteX225" fmla="*/ 2083082 w 2610377"/>
              <a:gd name="connsiteY225" fmla="*/ 624865 h 717496"/>
              <a:gd name="connsiteX226" fmla="*/ 2043274 w 2610377"/>
              <a:gd name="connsiteY226" fmla="*/ 705746 h 717496"/>
              <a:gd name="connsiteX227" fmla="*/ 2024348 w 2610377"/>
              <a:gd name="connsiteY227" fmla="*/ 705746 h 717496"/>
              <a:gd name="connsiteX228" fmla="*/ 1984540 w 2610377"/>
              <a:gd name="connsiteY228" fmla="*/ 624865 h 717496"/>
              <a:gd name="connsiteX229" fmla="*/ 1984540 w 2610377"/>
              <a:gd name="connsiteY229" fmla="*/ 715530 h 717496"/>
              <a:gd name="connsiteX230" fmla="*/ 1955173 w 2610377"/>
              <a:gd name="connsiteY230" fmla="*/ 715530 h 717496"/>
              <a:gd name="connsiteX231" fmla="*/ 1955173 w 2610377"/>
              <a:gd name="connsiteY231" fmla="*/ 567466 h 717496"/>
              <a:gd name="connsiteX232" fmla="*/ 2152257 w 2610377"/>
              <a:gd name="connsiteY232" fmla="*/ 641824 h 717496"/>
              <a:gd name="connsiteX233" fmla="*/ 2229915 w 2610377"/>
              <a:gd name="connsiteY233" fmla="*/ 565510 h 717496"/>
              <a:gd name="connsiteX234" fmla="*/ 2307574 w 2610377"/>
              <a:gd name="connsiteY234" fmla="*/ 641824 h 717496"/>
              <a:gd name="connsiteX235" fmla="*/ 2229915 w 2610377"/>
              <a:gd name="connsiteY235" fmla="*/ 717486 h 717496"/>
              <a:gd name="connsiteX236" fmla="*/ 2152257 w 2610377"/>
              <a:gd name="connsiteY236" fmla="*/ 641824 h 717496"/>
              <a:gd name="connsiteX237" fmla="*/ 2229915 w 2610377"/>
              <a:gd name="connsiteY237" fmla="*/ 690744 h 717496"/>
              <a:gd name="connsiteX238" fmla="*/ 2277555 w 2610377"/>
              <a:gd name="connsiteY238" fmla="*/ 641824 h 717496"/>
              <a:gd name="connsiteX239" fmla="*/ 2229915 w 2610377"/>
              <a:gd name="connsiteY239" fmla="*/ 592905 h 717496"/>
              <a:gd name="connsiteX240" fmla="*/ 2182276 w 2610377"/>
              <a:gd name="connsiteY240" fmla="*/ 641824 h 717496"/>
              <a:gd name="connsiteX241" fmla="*/ 2229915 w 2610377"/>
              <a:gd name="connsiteY241" fmla="*/ 690744 h 717496"/>
              <a:gd name="connsiteX242" fmla="*/ 2342814 w 2610377"/>
              <a:gd name="connsiteY242" fmla="*/ 715530 h 717496"/>
              <a:gd name="connsiteX243" fmla="*/ 2342814 w 2610377"/>
              <a:gd name="connsiteY243" fmla="*/ 567466 h 717496"/>
              <a:gd name="connsiteX244" fmla="*/ 2408074 w 2610377"/>
              <a:gd name="connsiteY244" fmla="*/ 567466 h 717496"/>
              <a:gd name="connsiteX245" fmla="*/ 2460934 w 2610377"/>
              <a:gd name="connsiteY245" fmla="*/ 615081 h 717496"/>
              <a:gd name="connsiteX246" fmla="*/ 2433525 w 2610377"/>
              <a:gd name="connsiteY246" fmla="*/ 656826 h 717496"/>
              <a:gd name="connsiteX247" fmla="*/ 2466807 w 2610377"/>
              <a:gd name="connsiteY247" fmla="*/ 715530 h 717496"/>
              <a:gd name="connsiteX248" fmla="*/ 2434177 w 2610377"/>
              <a:gd name="connsiteY248" fmla="*/ 715530 h 717496"/>
              <a:gd name="connsiteX249" fmla="*/ 2404158 w 2610377"/>
              <a:gd name="connsiteY249" fmla="*/ 661392 h 717496"/>
              <a:gd name="connsiteX250" fmla="*/ 2372181 w 2610377"/>
              <a:gd name="connsiteY250" fmla="*/ 661392 h 717496"/>
              <a:gd name="connsiteX251" fmla="*/ 2372181 w 2610377"/>
              <a:gd name="connsiteY251" fmla="*/ 714877 h 717496"/>
              <a:gd name="connsiteX252" fmla="*/ 2342814 w 2610377"/>
              <a:gd name="connsiteY252" fmla="*/ 714877 h 717496"/>
              <a:gd name="connsiteX253" fmla="*/ 2372181 w 2610377"/>
              <a:gd name="connsiteY253" fmla="*/ 635954 h 717496"/>
              <a:gd name="connsiteX254" fmla="*/ 2406116 w 2610377"/>
              <a:gd name="connsiteY254" fmla="*/ 635954 h 717496"/>
              <a:gd name="connsiteX255" fmla="*/ 2430914 w 2610377"/>
              <a:gd name="connsiteY255" fmla="*/ 615081 h 717496"/>
              <a:gd name="connsiteX256" fmla="*/ 2406116 w 2610377"/>
              <a:gd name="connsiteY256" fmla="*/ 592905 h 717496"/>
              <a:gd name="connsiteX257" fmla="*/ 2372181 w 2610377"/>
              <a:gd name="connsiteY257" fmla="*/ 592905 h 717496"/>
              <a:gd name="connsiteX258" fmla="*/ 2372181 w 2610377"/>
              <a:gd name="connsiteY258" fmla="*/ 635954 h 717496"/>
              <a:gd name="connsiteX259" fmla="*/ 2503353 w 2610377"/>
              <a:gd name="connsiteY259" fmla="*/ 567466 h 717496"/>
              <a:gd name="connsiteX260" fmla="*/ 2609073 w 2610377"/>
              <a:gd name="connsiteY260" fmla="*/ 567466 h 717496"/>
              <a:gd name="connsiteX261" fmla="*/ 2609073 w 2610377"/>
              <a:gd name="connsiteY261" fmla="*/ 592905 h 717496"/>
              <a:gd name="connsiteX262" fmla="*/ 2533372 w 2610377"/>
              <a:gd name="connsiteY262" fmla="*/ 592905 h 717496"/>
              <a:gd name="connsiteX263" fmla="*/ 2533372 w 2610377"/>
              <a:gd name="connsiteY263" fmla="*/ 626822 h 717496"/>
              <a:gd name="connsiteX264" fmla="*/ 2598631 w 2610377"/>
              <a:gd name="connsiteY264" fmla="*/ 626822 h 717496"/>
              <a:gd name="connsiteX265" fmla="*/ 2598631 w 2610377"/>
              <a:gd name="connsiteY265" fmla="*/ 652260 h 717496"/>
              <a:gd name="connsiteX266" fmla="*/ 2532719 w 2610377"/>
              <a:gd name="connsiteY266" fmla="*/ 652260 h 717496"/>
              <a:gd name="connsiteX267" fmla="*/ 2532719 w 2610377"/>
              <a:gd name="connsiteY267" fmla="*/ 690091 h 717496"/>
              <a:gd name="connsiteX268" fmla="*/ 2610378 w 2610377"/>
              <a:gd name="connsiteY268" fmla="*/ 690091 h 717496"/>
              <a:gd name="connsiteX269" fmla="*/ 2610378 w 2610377"/>
              <a:gd name="connsiteY269" fmla="*/ 715530 h 717496"/>
              <a:gd name="connsiteX270" fmla="*/ 2503353 w 2610377"/>
              <a:gd name="connsiteY270" fmla="*/ 715530 h 717496"/>
              <a:gd name="connsiteX271" fmla="*/ 2503353 w 2610377"/>
              <a:gd name="connsiteY271" fmla="*/ 567466 h 71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610377" h="717496">
                <a:moveTo>
                  <a:pt x="219924" y="234161"/>
                </a:moveTo>
                <a:cubicBezTo>
                  <a:pt x="274742" y="219812"/>
                  <a:pt x="308677" y="178067"/>
                  <a:pt x="308677" y="120016"/>
                </a:cubicBezTo>
                <a:cubicBezTo>
                  <a:pt x="308677" y="46311"/>
                  <a:pt x="255164" y="0"/>
                  <a:pt x="173590" y="0"/>
                </a:cubicBezTo>
                <a:lnTo>
                  <a:pt x="653" y="0"/>
                </a:lnTo>
                <a:lnTo>
                  <a:pt x="653" y="404401"/>
                </a:lnTo>
                <a:lnTo>
                  <a:pt x="49597" y="404401"/>
                </a:lnTo>
                <a:lnTo>
                  <a:pt x="49597" y="240032"/>
                </a:lnTo>
                <a:lnTo>
                  <a:pt x="167064" y="240032"/>
                </a:lnTo>
                <a:lnTo>
                  <a:pt x="262343" y="404401"/>
                </a:lnTo>
                <a:lnTo>
                  <a:pt x="320424" y="404401"/>
                </a:lnTo>
                <a:lnTo>
                  <a:pt x="219924" y="234161"/>
                </a:lnTo>
                <a:close/>
                <a:moveTo>
                  <a:pt x="49597" y="196330"/>
                </a:moveTo>
                <a:lnTo>
                  <a:pt x="49597" y="45006"/>
                </a:lnTo>
                <a:lnTo>
                  <a:pt x="170980" y="45006"/>
                </a:lnTo>
                <a:cubicBezTo>
                  <a:pt x="227756" y="45006"/>
                  <a:pt x="256470" y="73705"/>
                  <a:pt x="256470" y="120668"/>
                </a:cubicBezTo>
                <a:cubicBezTo>
                  <a:pt x="256470" y="166326"/>
                  <a:pt x="227103" y="196983"/>
                  <a:pt x="170980" y="196983"/>
                </a:cubicBezTo>
                <a:lnTo>
                  <a:pt x="49597" y="196983"/>
                </a:lnTo>
                <a:close/>
                <a:moveTo>
                  <a:pt x="1414825" y="652"/>
                </a:moveTo>
                <a:lnTo>
                  <a:pt x="1465075" y="652"/>
                </a:lnTo>
                <a:lnTo>
                  <a:pt x="1344997" y="405054"/>
                </a:lnTo>
                <a:lnTo>
                  <a:pt x="1273212" y="405054"/>
                </a:lnTo>
                <a:lnTo>
                  <a:pt x="1172712" y="75662"/>
                </a:lnTo>
                <a:lnTo>
                  <a:pt x="1072213" y="405054"/>
                </a:lnTo>
                <a:lnTo>
                  <a:pt x="1000427" y="405054"/>
                </a:lnTo>
                <a:lnTo>
                  <a:pt x="880350" y="652"/>
                </a:lnTo>
                <a:lnTo>
                  <a:pt x="930600" y="652"/>
                </a:lnTo>
                <a:lnTo>
                  <a:pt x="1036973" y="354830"/>
                </a:lnTo>
                <a:lnTo>
                  <a:pt x="1146609" y="3914"/>
                </a:lnTo>
                <a:lnTo>
                  <a:pt x="1198816" y="3914"/>
                </a:lnTo>
                <a:lnTo>
                  <a:pt x="1308452" y="354830"/>
                </a:lnTo>
                <a:lnTo>
                  <a:pt x="1414825" y="652"/>
                </a:lnTo>
                <a:close/>
                <a:moveTo>
                  <a:pt x="1621697" y="652"/>
                </a:moveTo>
                <a:lnTo>
                  <a:pt x="1670642" y="652"/>
                </a:lnTo>
                <a:lnTo>
                  <a:pt x="1670642" y="405054"/>
                </a:lnTo>
                <a:lnTo>
                  <a:pt x="1621697" y="405054"/>
                </a:lnTo>
                <a:lnTo>
                  <a:pt x="1621697" y="652"/>
                </a:lnTo>
                <a:close/>
                <a:moveTo>
                  <a:pt x="752442" y="405054"/>
                </a:moveTo>
                <a:lnTo>
                  <a:pt x="467910" y="405054"/>
                </a:lnTo>
                <a:lnTo>
                  <a:pt x="467910" y="652"/>
                </a:lnTo>
                <a:lnTo>
                  <a:pt x="745916" y="652"/>
                </a:lnTo>
                <a:lnTo>
                  <a:pt x="745916" y="45006"/>
                </a:lnTo>
                <a:lnTo>
                  <a:pt x="516855" y="45006"/>
                </a:lnTo>
                <a:lnTo>
                  <a:pt x="516855" y="174806"/>
                </a:lnTo>
                <a:lnTo>
                  <a:pt x="714591" y="174806"/>
                </a:lnTo>
                <a:lnTo>
                  <a:pt x="714591" y="219159"/>
                </a:lnTo>
                <a:lnTo>
                  <a:pt x="516855" y="219159"/>
                </a:lnTo>
                <a:lnTo>
                  <a:pt x="516855" y="360048"/>
                </a:lnTo>
                <a:lnTo>
                  <a:pt x="752442" y="360048"/>
                </a:lnTo>
                <a:lnTo>
                  <a:pt x="752442" y="405054"/>
                </a:lnTo>
                <a:close/>
                <a:moveTo>
                  <a:pt x="2077861" y="234161"/>
                </a:moveTo>
                <a:cubicBezTo>
                  <a:pt x="2132679" y="219812"/>
                  <a:pt x="2166614" y="178067"/>
                  <a:pt x="2166614" y="120016"/>
                </a:cubicBezTo>
                <a:cubicBezTo>
                  <a:pt x="2166614" y="46311"/>
                  <a:pt x="2113101" y="0"/>
                  <a:pt x="2031527" y="0"/>
                </a:cubicBezTo>
                <a:lnTo>
                  <a:pt x="1858589" y="0"/>
                </a:lnTo>
                <a:lnTo>
                  <a:pt x="1858589" y="404401"/>
                </a:lnTo>
                <a:lnTo>
                  <a:pt x="1907534" y="404401"/>
                </a:lnTo>
                <a:lnTo>
                  <a:pt x="1907534" y="240032"/>
                </a:lnTo>
                <a:lnTo>
                  <a:pt x="2025001" y="240032"/>
                </a:lnTo>
                <a:lnTo>
                  <a:pt x="2120280" y="404401"/>
                </a:lnTo>
                <a:lnTo>
                  <a:pt x="2178360" y="404401"/>
                </a:lnTo>
                <a:lnTo>
                  <a:pt x="2077861" y="234161"/>
                </a:lnTo>
                <a:close/>
                <a:moveTo>
                  <a:pt x="1907534" y="196330"/>
                </a:moveTo>
                <a:lnTo>
                  <a:pt x="1907534" y="45006"/>
                </a:lnTo>
                <a:lnTo>
                  <a:pt x="2029569" y="45006"/>
                </a:lnTo>
                <a:cubicBezTo>
                  <a:pt x="2086345" y="45006"/>
                  <a:pt x="2115059" y="73705"/>
                  <a:pt x="2115059" y="120668"/>
                </a:cubicBezTo>
                <a:cubicBezTo>
                  <a:pt x="2115059" y="166326"/>
                  <a:pt x="2085692" y="196983"/>
                  <a:pt x="2029569" y="196983"/>
                </a:cubicBezTo>
                <a:lnTo>
                  <a:pt x="1907534" y="196983"/>
                </a:lnTo>
                <a:close/>
                <a:moveTo>
                  <a:pt x="2610378" y="652"/>
                </a:moveTo>
                <a:lnTo>
                  <a:pt x="2610378" y="405054"/>
                </a:lnTo>
                <a:lnTo>
                  <a:pt x="2325847" y="405054"/>
                </a:lnTo>
                <a:lnTo>
                  <a:pt x="2325847" y="360700"/>
                </a:lnTo>
                <a:lnTo>
                  <a:pt x="2561433" y="360700"/>
                </a:lnTo>
                <a:lnTo>
                  <a:pt x="2561433" y="219812"/>
                </a:lnTo>
                <a:lnTo>
                  <a:pt x="2363697" y="219812"/>
                </a:lnTo>
                <a:lnTo>
                  <a:pt x="2363697" y="175458"/>
                </a:lnTo>
                <a:lnTo>
                  <a:pt x="2561433" y="175458"/>
                </a:lnTo>
                <a:lnTo>
                  <a:pt x="2561433" y="45658"/>
                </a:lnTo>
                <a:lnTo>
                  <a:pt x="2332373" y="45658"/>
                </a:lnTo>
                <a:lnTo>
                  <a:pt x="2332373" y="1305"/>
                </a:lnTo>
                <a:lnTo>
                  <a:pt x="2610378" y="1305"/>
                </a:lnTo>
                <a:close/>
                <a:moveTo>
                  <a:pt x="29367" y="715530"/>
                </a:moveTo>
                <a:lnTo>
                  <a:pt x="0" y="715530"/>
                </a:lnTo>
                <a:lnTo>
                  <a:pt x="0" y="567466"/>
                </a:lnTo>
                <a:lnTo>
                  <a:pt x="29367" y="567466"/>
                </a:lnTo>
                <a:lnTo>
                  <a:pt x="29367" y="715530"/>
                </a:lnTo>
                <a:close/>
                <a:moveTo>
                  <a:pt x="78964" y="567466"/>
                </a:moveTo>
                <a:lnTo>
                  <a:pt x="110289" y="567466"/>
                </a:lnTo>
                <a:lnTo>
                  <a:pt x="157928" y="665958"/>
                </a:lnTo>
                <a:lnTo>
                  <a:pt x="205567" y="567466"/>
                </a:lnTo>
                <a:lnTo>
                  <a:pt x="236892" y="567466"/>
                </a:lnTo>
                <a:lnTo>
                  <a:pt x="236892" y="715530"/>
                </a:lnTo>
                <a:lnTo>
                  <a:pt x="207525" y="715530"/>
                </a:lnTo>
                <a:lnTo>
                  <a:pt x="207525" y="624865"/>
                </a:lnTo>
                <a:lnTo>
                  <a:pt x="167717" y="705746"/>
                </a:lnTo>
                <a:lnTo>
                  <a:pt x="148792" y="705746"/>
                </a:lnTo>
                <a:lnTo>
                  <a:pt x="108983" y="624865"/>
                </a:lnTo>
                <a:lnTo>
                  <a:pt x="108983" y="715530"/>
                </a:lnTo>
                <a:lnTo>
                  <a:pt x="79617" y="715530"/>
                </a:lnTo>
                <a:lnTo>
                  <a:pt x="79617" y="567466"/>
                </a:lnTo>
                <a:close/>
                <a:moveTo>
                  <a:pt x="281921" y="715530"/>
                </a:moveTo>
                <a:lnTo>
                  <a:pt x="281921" y="567466"/>
                </a:lnTo>
                <a:lnTo>
                  <a:pt x="346528" y="567466"/>
                </a:lnTo>
                <a:cubicBezTo>
                  <a:pt x="378505" y="567466"/>
                  <a:pt x="399388" y="587034"/>
                  <a:pt x="399388" y="616386"/>
                </a:cubicBezTo>
                <a:cubicBezTo>
                  <a:pt x="399388" y="644433"/>
                  <a:pt x="378505" y="664653"/>
                  <a:pt x="346528" y="664653"/>
                </a:cubicBezTo>
                <a:lnTo>
                  <a:pt x="311288" y="664653"/>
                </a:lnTo>
                <a:lnTo>
                  <a:pt x="311288" y="715530"/>
                </a:lnTo>
                <a:lnTo>
                  <a:pt x="281921" y="715530"/>
                </a:lnTo>
                <a:close/>
                <a:moveTo>
                  <a:pt x="311288" y="639215"/>
                </a:moveTo>
                <a:lnTo>
                  <a:pt x="344570" y="639215"/>
                </a:lnTo>
                <a:cubicBezTo>
                  <a:pt x="360885" y="639215"/>
                  <a:pt x="369369" y="628779"/>
                  <a:pt x="369369" y="616386"/>
                </a:cubicBezTo>
                <a:cubicBezTo>
                  <a:pt x="369369" y="602688"/>
                  <a:pt x="360885" y="592905"/>
                  <a:pt x="344570" y="592905"/>
                </a:cubicBezTo>
                <a:lnTo>
                  <a:pt x="311288" y="592905"/>
                </a:lnTo>
                <a:lnTo>
                  <a:pt x="311288" y="639215"/>
                </a:lnTo>
                <a:close/>
                <a:moveTo>
                  <a:pt x="426144" y="641824"/>
                </a:moveTo>
                <a:cubicBezTo>
                  <a:pt x="426144" y="596818"/>
                  <a:pt x="458774" y="565510"/>
                  <a:pt x="503803" y="565510"/>
                </a:cubicBezTo>
                <a:cubicBezTo>
                  <a:pt x="548832" y="565510"/>
                  <a:pt x="581462" y="597470"/>
                  <a:pt x="581462" y="641824"/>
                </a:cubicBezTo>
                <a:cubicBezTo>
                  <a:pt x="581462" y="686830"/>
                  <a:pt x="548832" y="717486"/>
                  <a:pt x="503803" y="717486"/>
                </a:cubicBezTo>
                <a:cubicBezTo>
                  <a:pt x="458774" y="718139"/>
                  <a:pt x="426144" y="686830"/>
                  <a:pt x="426144" y="641824"/>
                </a:cubicBezTo>
                <a:close/>
                <a:moveTo>
                  <a:pt x="503803" y="690744"/>
                </a:moveTo>
                <a:cubicBezTo>
                  <a:pt x="531865" y="690744"/>
                  <a:pt x="551442" y="671176"/>
                  <a:pt x="551442" y="641824"/>
                </a:cubicBezTo>
                <a:cubicBezTo>
                  <a:pt x="551442" y="613125"/>
                  <a:pt x="531865" y="592905"/>
                  <a:pt x="503803" y="592905"/>
                </a:cubicBezTo>
                <a:cubicBezTo>
                  <a:pt x="476394" y="592905"/>
                  <a:pt x="456164" y="613125"/>
                  <a:pt x="456164" y="641824"/>
                </a:cubicBezTo>
                <a:cubicBezTo>
                  <a:pt x="456816" y="670523"/>
                  <a:pt x="476394" y="690744"/>
                  <a:pt x="503803" y="690744"/>
                </a:cubicBezTo>
                <a:close/>
                <a:moveTo>
                  <a:pt x="629754" y="667262"/>
                </a:moveTo>
                <a:cubicBezTo>
                  <a:pt x="636932" y="681612"/>
                  <a:pt x="649984" y="691396"/>
                  <a:pt x="667604" y="691396"/>
                </a:cubicBezTo>
                <a:cubicBezTo>
                  <a:pt x="681961" y="691396"/>
                  <a:pt x="693055" y="684221"/>
                  <a:pt x="693055" y="675089"/>
                </a:cubicBezTo>
                <a:cubicBezTo>
                  <a:pt x="693055" y="665305"/>
                  <a:pt x="681961" y="660087"/>
                  <a:pt x="664341" y="654217"/>
                </a:cubicBezTo>
                <a:cubicBezTo>
                  <a:pt x="635627" y="645085"/>
                  <a:pt x="612786" y="636606"/>
                  <a:pt x="612786" y="607907"/>
                </a:cubicBezTo>
                <a:cubicBezTo>
                  <a:pt x="612786" y="579859"/>
                  <a:pt x="640195" y="565510"/>
                  <a:pt x="664994" y="565510"/>
                </a:cubicBezTo>
                <a:cubicBezTo>
                  <a:pt x="691750" y="565510"/>
                  <a:pt x="710676" y="581164"/>
                  <a:pt x="719812" y="597470"/>
                </a:cubicBezTo>
                <a:lnTo>
                  <a:pt x="696971" y="613777"/>
                </a:lnTo>
                <a:cubicBezTo>
                  <a:pt x="690445" y="602688"/>
                  <a:pt x="680004" y="592252"/>
                  <a:pt x="664341" y="592252"/>
                </a:cubicBezTo>
                <a:cubicBezTo>
                  <a:pt x="652594" y="592252"/>
                  <a:pt x="642806" y="598123"/>
                  <a:pt x="642806" y="607907"/>
                </a:cubicBezTo>
                <a:cubicBezTo>
                  <a:pt x="642806" y="619647"/>
                  <a:pt x="653900" y="621604"/>
                  <a:pt x="672172" y="628127"/>
                </a:cubicBezTo>
                <a:cubicBezTo>
                  <a:pt x="700234" y="637910"/>
                  <a:pt x="723075" y="645738"/>
                  <a:pt x="723075" y="674437"/>
                </a:cubicBezTo>
                <a:cubicBezTo>
                  <a:pt x="723075" y="703789"/>
                  <a:pt x="693708" y="717486"/>
                  <a:pt x="666952" y="717486"/>
                </a:cubicBezTo>
                <a:cubicBezTo>
                  <a:pt x="638238" y="717486"/>
                  <a:pt x="616049" y="702484"/>
                  <a:pt x="607566" y="682264"/>
                </a:cubicBezTo>
                <a:lnTo>
                  <a:pt x="629754" y="667262"/>
                </a:lnTo>
                <a:close/>
                <a:moveTo>
                  <a:pt x="770714" y="667262"/>
                </a:moveTo>
                <a:cubicBezTo>
                  <a:pt x="777893" y="681612"/>
                  <a:pt x="790945" y="691396"/>
                  <a:pt x="808565" y="691396"/>
                </a:cubicBezTo>
                <a:cubicBezTo>
                  <a:pt x="822922" y="691396"/>
                  <a:pt x="834016" y="684221"/>
                  <a:pt x="834016" y="675089"/>
                </a:cubicBezTo>
                <a:cubicBezTo>
                  <a:pt x="834016" y="665305"/>
                  <a:pt x="822922" y="660087"/>
                  <a:pt x="805302" y="654217"/>
                </a:cubicBezTo>
                <a:cubicBezTo>
                  <a:pt x="776587" y="645085"/>
                  <a:pt x="753747" y="636606"/>
                  <a:pt x="753747" y="607907"/>
                </a:cubicBezTo>
                <a:cubicBezTo>
                  <a:pt x="753747" y="579859"/>
                  <a:pt x="781156" y="565510"/>
                  <a:pt x="805954" y="565510"/>
                </a:cubicBezTo>
                <a:cubicBezTo>
                  <a:pt x="832711" y="565510"/>
                  <a:pt x="851636" y="581164"/>
                  <a:pt x="860772" y="597470"/>
                </a:cubicBezTo>
                <a:lnTo>
                  <a:pt x="837931" y="613777"/>
                </a:lnTo>
                <a:cubicBezTo>
                  <a:pt x="831406" y="602688"/>
                  <a:pt x="820964" y="592252"/>
                  <a:pt x="805302" y="592252"/>
                </a:cubicBezTo>
                <a:cubicBezTo>
                  <a:pt x="793555" y="592252"/>
                  <a:pt x="783766" y="598123"/>
                  <a:pt x="783766" y="607907"/>
                </a:cubicBezTo>
                <a:cubicBezTo>
                  <a:pt x="783766" y="619647"/>
                  <a:pt x="794860" y="621604"/>
                  <a:pt x="813133" y="628127"/>
                </a:cubicBezTo>
                <a:cubicBezTo>
                  <a:pt x="841194" y="637910"/>
                  <a:pt x="864035" y="645738"/>
                  <a:pt x="864035" y="674437"/>
                </a:cubicBezTo>
                <a:cubicBezTo>
                  <a:pt x="864035" y="703789"/>
                  <a:pt x="834669" y="717486"/>
                  <a:pt x="807912" y="717486"/>
                </a:cubicBezTo>
                <a:cubicBezTo>
                  <a:pt x="779198" y="717486"/>
                  <a:pt x="757010" y="702484"/>
                  <a:pt x="748526" y="682264"/>
                </a:cubicBezTo>
                <a:lnTo>
                  <a:pt x="770714" y="667262"/>
                </a:lnTo>
                <a:close/>
                <a:moveTo>
                  <a:pt x="933863" y="715530"/>
                </a:moveTo>
                <a:lnTo>
                  <a:pt x="904496" y="715530"/>
                </a:lnTo>
                <a:lnTo>
                  <a:pt x="904496" y="567466"/>
                </a:lnTo>
                <a:lnTo>
                  <a:pt x="933863" y="567466"/>
                </a:lnTo>
                <a:lnTo>
                  <a:pt x="933863" y="715530"/>
                </a:lnTo>
                <a:close/>
                <a:moveTo>
                  <a:pt x="978892" y="567466"/>
                </a:moveTo>
                <a:lnTo>
                  <a:pt x="1047414" y="567466"/>
                </a:lnTo>
                <a:cubicBezTo>
                  <a:pt x="1074171" y="567466"/>
                  <a:pt x="1093096" y="583773"/>
                  <a:pt x="1093096" y="607907"/>
                </a:cubicBezTo>
                <a:cubicBezTo>
                  <a:pt x="1093096" y="617691"/>
                  <a:pt x="1087875" y="633345"/>
                  <a:pt x="1073518" y="638563"/>
                </a:cubicBezTo>
                <a:cubicBezTo>
                  <a:pt x="1089833" y="645085"/>
                  <a:pt x="1098316" y="658783"/>
                  <a:pt x="1098316" y="674437"/>
                </a:cubicBezTo>
                <a:cubicBezTo>
                  <a:pt x="1098316" y="698571"/>
                  <a:pt x="1079391" y="715530"/>
                  <a:pt x="1051982" y="715530"/>
                </a:cubicBezTo>
                <a:lnTo>
                  <a:pt x="978892" y="715530"/>
                </a:lnTo>
                <a:lnTo>
                  <a:pt x="978892" y="567466"/>
                </a:lnTo>
                <a:close/>
                <a:moveTo>
                  <a:pt x="1008258" y="592905"/>
                </a:moveTo>
                <a:lnTo>
                  <a:pt x="1008258" y="629431"/>
                </a:lnTo>
                <a:lnTo>
                  <a:pt x="1042846" y="629431"/>
                </a:lnTo>
                <a:cubicBezTo>
                  <a:pt x="1055245" y="629431"/>
                  <a:pt x="1062424" y="621604"/>
                  <a:pt x="1062424" y="611820"/>
                </a:cubicBezTo>
                <a:cubicBezTo>
                  <a:pt x="1062424" y="600079"/>
                  <a:pt x="1053940" y="593557"/>
                  <a:pt x="1042193" y="593557"/>
                </a:cubicBezTo>
                <a:lnTo>
                  <a:pt x="1008258" y="593557"/>
                </a:lnTo>
                <a:close/>
                <a:moveTo>
                  <a:pt x="1008258" y="652260"/>
                </a:moveTo>
                <a:lnTo>
                  <a:pt x="1008258" y="690744"/>
                </a:lnTo>
                <a:lnTo>
                  <a:pt x="1046762" y="690744"/>
                </a:lnTo>
                <a:cubicBezTo>
                  <a:pt x="1058508" y="690744"/>
                  <a:pt x="1066340" y="682917"/>
                  <a:pt x="1066340" y="672480"/>
                </a:cubicBezTo>
                <a:cubicBezTo>
                  <a:pt x="1066340" y="660087"/>
                  <a:pt x="1058508" y="652260"/>
                  <a:pt x="1046762" y="652260"/>
                </a:cubicBezTo>
                <a:lnTo>
                  <a:pt x="1008258" y="652260"/>
                </a:lnTo>
                <a:close/>
                <a:moveTo>
                  <a:pt x="1247108" y="715530"/>
                </a:moveTo>
                <a:lnTo>
                  <a:pt x="1137472" y="715530"/>
                </a:lnTo>
                <a:lnTo>
                  <a:pt x="1137472" y="567466"/>
                </a:lnTo>
                <a:lnTo>
                  <a:pt x="1166839" y="567466"/>
                </a:lnTo>
                <a:lnTo>
                  <a:pt x="1166839" y="690091"/>
                </a:lnTo>
                <a:lnTo>
                  <a:pt x="1246455" y="690091"/>
                </a:lnTo>
                <a:lnTo>
                  <a:pt x="1246455" y="715530"/>
                </a:lnTo>
                <a:close/>
                <a:moveTo>
                  <a:pt x="1281043" y="567466"/>
                </a:moveTo>
                <a:lnTo>
                  <a:pt x="1386763" y="567466"/>
                </a:lnTo>
                <a:lnTo>
                  <a:pt x="1386763" y="592905"/>
                </a:lnTo>
                <a:lnTo>
                  <a:pt x="1311062" y="592905"/>
                </a:lnTo>
                <a:lnTo>
                  <a:pt x="1311062" y="626822"/>
                </a:lnTo>
                <a:lnTo>
                  <a:pt x="1376974" y="626822"/>
                </a:lnTo>
                <a:lnTo>
                  <a:pt x="1376974" y="652260"/>
                </a:lnTo>
                <a:lnTo>
                  <a:pt x="1311062" y="652260"/>
                </a:lnTo>
                <a:lnTo>
                  <a:pt x="1311062" y="690091"/>
                </a:lnTo>
                <a:lnTo>
                  <a:pt x="1388721" y="690091"/>
                </a:lnTo>
                <a:lnTo>
                  <a:pt x="1388721" y="715530"/>
                </a:lnTo>
                <a:lnTo>
                  <a:pt x="1281696" y="715530"/>
                </a:lnTo>
                <a:lnTo>
                  <a:pt x="1281696" y="567466"/>
                </a:lnTo>
                <a:close/>
                <a:moveTo>
                  <a:pt x="1504230" y="715530"/>
                </a:moveTo>
                <a:lnTo>
                  <a:pt x="1504230" y="567466"/>
                </a:lnTo>
                <a:lnTo>
                  <a:pt x="1530987" y="567466"/>
                </a:lnTo>
                <a:lnTo>
                  <a:pt x="1613214" y="669219"/>
                </a:lnTo>
                <a:lnTo>
                  <a:pt x="1613214" y="567466"/>
                </a:lnTo>
                <a:lnTo>
                  <a:pt x="1642580" y="567466"/>
                </a:lnTo>
                <a:lnTo>
                  <a:pt x="1642580" y="715530"/>
                </a:lnTo>
                <a:lnTo>
                  <a:pt x="1615171" y="715530"/>
                </a:lnTo>
                <a:lnTo>
                  <a:pt x="1533597" y="615081"/>
                </a:lnTo>
                <a:lnTo>
                  <a:pt x="1533597" y="715530"/>
                </a:lnTo>
                <a:lnTo>
                  <a:pt x="1504230" y="715530"/>
                </a:lnTo>
                <a:close/>
                <a:moveTo>
                  <a:pt x="1682388" y="641824"/>
                </a:moveTo>
                <a:cubicBezTo>
                  <a:pt x="1682388" y="596818"/>
                  <a:pt x="1715018" y="565510"/>
                  <a:pt x="1760047" y="565510"/>
                </a:cubicBezTo>
                <a:cubicBezTo>
                  <a:pt x="1805077" y="565510"/>
                  <a:pt x="1837706" y="597470"/>
                  <a:pt x="1837706" y="641824"/>
                </a:cubicBezTo>
                <a:cubicBezTo>
                  <a:pt x="1837706" y="686830"/>
                  <a:pt x="1805077" y="717486"/>
                  <a:pt x="1760047" y="717486"/>
                </a:cubicBezTo>
                <a:cubicBezTo>
                  <a:pt x="1715018" y="718139"/>
                  <a:pt x="1682388" y="686830"/>
                  <a:pt x="1682388" y="641824"/>
                </a:cubicBezTo>
                <a:close/>
                <a:moveTo>
                  <a:pt x="1760047" y="690744"/>
                </a:moveTo>
                <a:cubicBezTo>
                  <a:pt x="1788109" y="690744"/>
                  <a:pt x="1807687" y="671176"/>
                  <a:pt x="1807687" y="641824"/>
                </a:cubicBezTo>
                <a:cubicBezTo>
                  <a:pt x="1807687" y="613125"/>
                  <a:pt x="1788109" y="592905"/>
                  <a:pt x="1760047" y="592905"/>
                </a:cubicBezTo>
                <a:cubicBezTo>
                  <a:pt x="1732638" y="592905"/>
                  <a:pt x="1712408" y="613125"/>
                  <a:pt x="1712408" y="641824"/>
                </a:cubicBezTo>
                <a:cubicBezTo>
                  <a:pt x="1712408" y="670523"/>
                  <a:pt x="1732638" y="690744"/>
                  <a:pt x="1760047" y="690744"/>
                </a:cubicBezTo>
                <a:close/>
                <a:moveTo>
                  <a:pt x="1954520" y="567466"/>
                </a:moveTo>
                <a:lnTo>
                  <a:pt x="1985845" y="567466"/>
                </a:lnTo>
                <a:lnTo>
                  <a:pt x="2033485" y="665958"/>
                </a:lnTo>
                <a:lnTo>
                  <a:pt x="2081124" y="567466"/>
                </a:lnTo>
                <a:lnTo>
                  <a:pt x="2112448" y="567466"/>
                </a:lnTo>
                <a:lnTo>
                  <a:pt x="2112448" y="715530"/>
                </a:lnTo>
                <a:lnTo>
                  <a:pt x="2083082" y="715530"/>
                </a:lnTo>
                <a:lnTo>
                  <a:pt x="2083082" y="624865"/>
                </a:lnTo>
                <a:lnTo>
                  <a:pt x="2043274" y="705746"/>
                </a:lnTo>
                <a:lnTo>
                  <a:pt x="2024348" y="705746"/>
                </a:lnTo>
                <a:lnTo>
                  <a:pt x="1984540" y="624865"/>
                </a:lnTo>
                <a:lnTo>
                  <a:pt x="1984540" y="715530"/>
                </a:lnTo>
                <a:lnTo>
                  <a:pt x="1955173" y="715530"/>
                </a:lnTo>
                <a:lnTo>
                  <a:pt x="1955173" y="567466"/>
                </a:lnTo>
                <a:close/>
                <a:moveTo>
                  <a:pt x="2152257" y="641824"/>
                </a:moveTo>
                <a:cubicBezTo>
                  <a:pt x="2152257" y="596818"/>
                  <a:pt x="2184886" y="565510"/>
                  <a:pt x="2229915" y="565510"/>
                </a:cubicBezTo>
                <a:cubicBezTo>
                  <a:pt x="2274945" y="565510"/>
                  <a:pt x="2307574" y="597470"/>
                  <a:pt x="2307574" y="641824"/>
                </a:cubicBezTo>
                <a:cubicBezTo>
                  <a:pt x="2307574" y="686830"/>
                  <a:pt x="2274945" y="717486"/>
                  <a:pt x="2229915" y="717486"/>
                </a:cubicBezTo>
                <a:cubicBezTo>
                  <a:pt x="2184886" y="718139"/>
                  <a:pt x="2152257" y="686830"/>
                  <a:pt x="2152257" y="641824"/>
                </a:cubicBezTo>
                <a:close/>
                <a:moveTo>
                  <a:pt x="2229915" y="690744"/>
                </a:moveTo>
                <a:cubicBezTo>
                  <a:pt x="2257977" y="690744"/>
                  <a:pt x="2277555" y="671176"/>
                  <a:pt x="2277555" y="641824"/>
                </a:cubicBezTo>
                <a:cubicBezTo>
                  <a:pt x="2277555" y="613125"/>
                  <a:pt x="2257977" y="592905"/>
                  <a:pt x="2229915" y="592905"/>
                </a:cubicBezTo>
                <a:cubicBezTo>
                  <a:pt x="2202506" y="592905"/>
                  <a:pt x="2182276" y="613125"/>
                  <a:pt x="2182276" y="641824"/>
                </a:cubicBezTo>
                <a:cubicBezTo>
                  <a:pt x="2182276" y="670523"/>
                  <a:pt x="2202506" y="690744"/>
                  <a:pt x="2229915" y="690744"/>
                </a:cubicBezTo>
                <a:close/>
                <a:moveTo>
                  <a:pt x="2342814" y="715530"/>
                </a:moveTo>
                <a:lnTo>
                  <a:pt x="2342814" y="567466"/>
                </a:lnTo>
                <a:lnTo>
                  <a:pt x="2408074" y="567466"/>
                </a:lnTo>
                <a:cubicBezTo>
                  <a:pt x="2440051" y="567466"/>
                  <a:pt x="2460934" y="586382"/>
                  <a:pt x="2460934" y="615081"/>
                </a:cubicBezTo>
                <a:cubicBezTo>
                  <a:pt x="2460934" y="633997"/>
                  <a:pt x="2450492" y="649651"/>
                  <a:pt x="2433525" y="656826"/>
                </a:cubicBezTo>
                <a:lnTo>
                  <a:pt x="2466807" y="715530"/>
                </a:lnTo>
                <a:lnTo>
                  <a:pt x="2434177" y="715530"/>
                </a:lnTo>
                <a:lnTo>
                  <a:pt x="2404158" y="661392"/>
                </a:lnTo>
                <a:lnTo>
                  <a:pt x="2372181" y="661392"/>
                </a:lnTo>
                <a:lnTo>
                  <a:pt x="2372181" y="714877"/>
                </a:lnTo>
                <a:lnTo>
                  <a:pt x="2342814" y="714877"/>
                </a:lnTo>
                <a:close/>
                <a:moveTo>
                  <a:pt x="2372181" y="635954"/>
                </a:moveTo>
                <a:lnTo>
                  <a:pt x="2406116" y="635954"/>
                </a:lnTo>
                <a:cubicBezTo>
                  <a:pt x="2422431" y="635954"/>
                  <a:pt x="2430914" y="626170"/>
                  <a:pt x="2430914" y="615081"/>
                </a:cubicBezTo>
                <a:cubicBezTo>
                  <a:pt x="2430914" y="602688"/>
                  <a:pt x="2422431" y="592905"/>
                  <a:pt x="2406116" y="592905"/>
                </a:cubicBezTo>
                <a:lnTo>
                  <a:pt x="2372181" y="592905"/>
                </a:lnTo>
                <a:lnTo>
                  <a:pt x="2372181" y="635954"/>
                </a:lnTo>
                <a:close/>
                <a:moveTo>
                  <a:pt x="2503353" y="567466"/>
                </a:moveTo>
                <a:lnTo>
                  <a:pt x="2609073" y="567466"/>
                </a:lnTo>
                <a:lnTo>
                  <a:pt x="2609073" y="592905"/>
                </a:lnTo>
                <a:lnTo>
                  <a:pt x="2533372" y="592905"/>
                </a:lnTo>
                <a:lnTo>
                  <a:pt x="2533372" y="626822"/>
                </a:lnTo>
                <a:lnTo>
                  <a:pt x="2598631" y="626822"/>
                </a:lnTo>
                <a:lnTo>
                  <a:pt x="2598631" y="652260"/>
                </a:lnTo>
                <a:lnTo>
                  <a:pt x="2532719" y="652260"/>
                </a:lnTo>
                <a:lnTo>
                  <a:pt x="2532719" y="690091"/>
                </a:lnTo>
                <a:lnTo>
                  <a:pt x="2610378" y="690091"/>
                </a:lnTo>
                <a:lnTo>
                  <a:pt x="2610378" y="715530"/>
                </a:lnTo>
                <a:lnTo>
                  <a:pt x="2503353" y="715530"/>
                </a:lnTo>
                <a:lnTo>
                  <a:pt x="2503353" y="567466"/>
                </a:lnTo>
                <a:close/>
              </a:path>
            </a:pathLst>
          </a:custGeom>
          <a:solidFill>
            <a:schemeClr val="tx1"/>
          </a:solidFill>
          <a:ln w="6526" cap="flat">
            <a:noFill/>
            <a:prstDash val="solid"/>
            <a:miter/>
          </a:ln>
        </p:spPr>
        <p:txBody>
          <a:bodyPr rtlCol="0" anchor="ctr"/>
          <a:lstStyle/>
          <a:p>
            <a:pPr marL="0" indent="0">
              <a:tabLst>
                <a:tab pos="755650" algn="l"/>
              </a:tabLst>
            </a:pPr>
            <a:endParaRPr lang="en-US" b="0" i="0" dirty="0">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2" name="Content Placeholder 29">
            <a:extLst>
              <a:ext uri="{FF2B5EF4-FFF2-40B4-BE49-F238E27FC236}">
                <a16:creationId xmlns:a16="http://schemas.microsoft.com/office/drawing/2014/main" id="{CC6C5692-E3C2-09A6-C7A3-2BB0B3139CF9}"/>
              </a:ext>
            </a:extLst>
          </p:cNvPr>
          <p:cNvSpPr>
            <a:spLocks noGrp="1"/>
          </p:cNvSpPr>
          <p:nvPr>
            <p:ph sz="quarter" idx="12" hasCustomPrompt="1"/>
          </p:nvPr>
        </p:nvSpPr>
        <p:spPr>
          <a:xfrm>
            <a:off x="561124" y="5325295"/>
            <a:ext cx="2952750" cy="969963"/>
          </a:xfrm>
          <a:prstGeom prst="rect">
            <a:avLst/>
          </a:prstGeom>
        </p:spPr>
        <p:txBody>
          <a:bodyPr/>
          <a:lstStyle>
            <a:lvl1pPr>
              <a:defRPr>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CLIENT LOGO HERE</a:t>
            </a:r>
          </a:p>
          <a:p>
            <a:pPr lvl="0"/>
            <a:r>
              <a:rPr lang="en-US" dirty="0"/>
              <a:t>(Optional – or remove box)</a:t>
            </a:r>
          </a:p>
        </p:txBody>
      </p:sp>
      <p:sp>
        <p:nvSpPr>
          <p:cNvPr id="2" name="Title 11">
            <a:extLst>
              <a:ext uri="{FF2B5EF4-FFF2-40B4-BE49-F238E27FC236}">
                <a16:creationId xmlns:a16="http://schemas.microsoft.com/office/drawing/2014/main" id="{FBA13FF4-915A-84DE-1AF0-DC85E5661C6A}"/>
              </a:ext>
            </a:extLst>
          </p:cNvPr>
          <p:cNvSpPr>
            <a:spLocks noGrp="1"/>
          </p:cNvSpPr>
          <p:nvPr>
            <p:ph type="title" hasCustomPrompt="1"/>
          </p:nvPr>
        </p:nvSpPr>
        <p:spPr>
          <a:xfrm>
            <a:off x="552449" y="2791323"/>
            <a:ext cx="5810252" cy="470963"/>
          </a:xfrm>
        </p:spPr>
        <p:txBody>
          <a:bodyPr vert="horz" wrap="square" lIns="0" tIns="0" rIns="0" bIns="0" rtlCol="0" anchor="t" anchorCtr="0">
            <a:spAutoFit/>
          </a:bodyPr>
          <a:lstStyle>
            <a:lvl1pPr>
              <a:defRPr lang="en-GB" sz="3600" b="1"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pPr>
            <a:r>
              <a:rPr lang="en-GB" dirty="0"/>
              <a:t>Title, aim for one line </a:t>
            </a:r>
          </a:p>
        </p:txBody>
      </p:sp>
      <p:sp>
        <p:nvSpPr>
          <p:cNvPr id="4" name="Text Placeholder 16">
            <a:extLst>
              <a:ext uri="{FF2B5EF4-FFF2-40B4-BE49-F238E27FC236}">
                <a16:creationId xmlns:a16="http://schemas.microsoft.com/office/drawing/2014/main" id="{CD0531E0-C02D-8BB6-16E9-9CDD46E9B1D7}"/>
              </a:ext>
            </a:extLst>
          </p:cNvPr>
          <p:cNvSpPr>
            <a:spLocks noGrp="1"/>
          </p:cNvSpPr>
          <p:nvPr>
            <p:ph type="body" sz="quarter" idx="13" hasCustomPrompt="1"/>
          </p:nvPr>
        </p:nvSpPr>
        <p:spPr>
          <a:xfrm>
            <a:off x="561124" y="3445525"/>
            <a:ext cx="5801103" cy="720725"/>
          </a:xfrm>
          <a:prstGeom prst="rect">
            <a:avLst/>
          </a:prstGeom>
        </p:spPr>
        <p:txBody>
          <a:bodyPr lIns="0" tIns="0" rIns="0"/>
          <a:lstStyle>
            <a:lvl1pPr>
              <a:defRPr sz="24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 one or two lines</a:t>
            </a:r>
          </a:p>
        </p:txBody>
      </p:sp>
      <p:sp>
        <p:nvSpPr>
          <p:cNvPr id="6" name="Text Placeholder 16">
            <a:extLst>
              <a:ext uri="{FF2B5EF4-FFF2-40B4-BE49-F238E27FC236}">
                <a16:creationId xmlns:a16="http://schemas.microsoft.com/office/drawing/2014/main" id="{7554BCB2-1ADB-744C-2DC2-C24D0951C02D}"/>
              </a:ext>
            </a:extLst>
          </p:cNvPr>
          <p:cNvSpPr>
            <a:spLocks noGrp="1"/>
          </p:cNvSpPr>
          <p:nvPr>
            <p:ph type="body" sz="quarter" idx="14" hasCustomPrompt="1"/>
          </p:nvPr>
        </p:nvSpPr>
        <p:spPr>
          <a:xfrm>
            <a:off x="561124" y="4191266"/>
            <a:ext cx="3112893" cy="354515"/>
          </a:xfrm>
          <a:prstGeom prst="rect">
            <a:avLst/>
          </a:prstGeom>
        </p:spPr>
        <p:txBody>
          <a:bodyPr lIns="0" tIns="0" rIns="0"/>
          <a:lstStyle>
            <a:lvl1pPr>
              <a:defRPr sz="18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242035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4">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B9401F-2EB1-9C2D-8A61-0732AC01B5F4}"/>
              </a:ext>
            </a:extLst>
          </p:cNvPr>
          <p:cNvGraphicFramePr>
            <a:graphicFrameLocks noChangeAspect="1"/>
          </p:cNvGraphicFramePr>
          <p:nvPr userDrawn="1">
            <p:custDataLst>
              <p:tags r:id="rId1"/>
            </p:custDataLst>
            <p:extLst>
              <p:ext uri="{D42A27DB-BD31-4B8C-83A1-F6EECF244321}">
                <p14:modId xmlns:p14="http://schemas.microsoft.com/office/powerpoint/2010/main" val="320724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05B9401F-2EB1-9C2D-8A61-0732AC01B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9F29327-316B-62D7-6BC9-27DE9F0BB32E}"/>
              </a:ext>
            </a:extLst>
          </p:cNvPr>
          <p:cNvSpPr/>
          <p:nvPr userDrawn="1"/>
        </p:nvSpPr>
        <p:spPr>
          <a:xfrm>
            <a:off x="3047999" y="0"/>
            <a:ext cx="91455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 name="Text Placeholder 2">
            <a:extLst>
              <a:ext uri="{FF2B5EF4-FFF2-40B4-BE49-F238E27FC236}">
                <a16:creationId xmlns:a16="http://schemas.microsoft.com/office/drawing/2014/main" id="{D5EDBD67-4AD3-9879-900C-1C606C8316F5}"/>
              </a:ext>
            </a:extLst>
          </p:cNvPr>
          <p:cNvSpPr>
            <a:spLocks noGrp="1"/>
          </p:cNvSpPr>
          <p:nvPr>
            <p:ph type="body" sz="quarter" idx="55" hasCustomPrompt="1"/>
          </p:nvPr>
        </p:nvSpPr>
        <p:spPr>
          <a:xfrm>
            <a:off x="3162300" y="6505526"/>
            <a:ext cx="7443788" cy="117525"/>
          </a:xfrm>
          <a:prstGeom prst="rect">
            <a:avLst/>
          </a:prstGeom>
        </p:spPr>
        <p:txBody>
          <a:bodyPr/>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Click to add footnote</a:t>
            </a:r>
          </a:p>
        </p:txBody>
      </p:sp>
      <p:sp>
        <p:nvSpPr>
          <p:cNvPr id="10" name="Text Placeholder 2">
            <a:extLst>
              <a:ext uri="{FF2B5EF4-FFF2-40B4-BE49-F238E27FC236}">
                <a16:creationId xmlns:a16="http://schemas.microsoft.com/office/drawing/2014/main" id="{DC432CBD-F6A9-FA21-6F63-717F062E7E59}"/>
              </a:ext>
            </a:extLst>
          </p:cNvPr>
          <p:cNvSpPr>
            <a:spLocks noGrp="1"/>
          </p:cNvSpPr>
          <p:nvPr>
            <p:ph type="body" sz="quarter" idx="56" hasCustomPrompt="1"/>
          </p:nvPr>
        </p:nvSpPr>
        <p:spPr>
          <a:xfrm>
            <a:off x="3162300" y="6623050"/>
            <a:ext cx="7443788" cy="117525"/>
          </a:xfrm>
          <a:prstGeom prst="rect">
            <a:avLst/>
          </a:prstGeom>
        </p:spPr>
        <p:txBody>
          <a:bodyPr/>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Click to add source</a:t>
            </a:r>
          </a:p>
        </p:txBody>
      </p:sp>
      <p:sp>
        <p:nvSpPr>
          <p:cNvPr id="19" name="TextBox 18">
            <a:extLst>
              <a:ext uri="{FF2B5EF4-FFF2-40B4-BE49-F238E27FC236}">
                <a16:creationId xmlns:a16="http://schemas.microsoft.com/office/drawing/2014/main" id="{CEDD087A-17FF-E090-670E-0AED18789958}"/>
              </a:ext>
            </a:extLst>
          </p:cNvPr>
          <p:cNvSpPr txBox="1"/>
          <p:nvPr userDrawn="1"/>
        </p:nvSpPr>
        <p:spPr>
          <a:xfrm>
            <a:off x="10150218" y="6623050"/>
            <a:ext cx="1345096" cy="107722"/>
          </a:xfrm>
          <a:prstGeom prst="rect">
            <a:avLst/>
          </a:prstGeom>
          <a:noFill/>
        </p:spPr>
        <p:txBody>
          <a:bodyPr wrap="square" lIns="0" tIns="0" rIns="0" bIns="0" rtlCol="0">
            <a:spAutoFit/>
          </a:bodyPr>
          <a:lstStyle/>
          <a:p>
            <a:pPr algn="r"/>
            <a:r>
              <a:rPr lang="en-US" sz="7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20" name="TextBox 19">
            <a:extLst>
              <a:ext uri="{FF2B5EF4-FFF2-40B4-BE49-F238E27FC236}">
                <a16:creationId xmlns:a16="http://schemas.microsoft.com/office/drawing/2014/main" id="{BB6CAEFC-0019-4F20-829F-B0C8EB4CC8E9}"/>
              </a:ext>
            </a:extLst>
          </p:cNvPr>
          <p:cNvSpPr txBox="1"/>
          <p:nvPr userDrawn="1"/>
        </p:nvSpPr>
        <p:spPr>
          <a:xfrm>
            <a:off x="11603189" y="6623050"/>
            <a:ext cx="251999" cy="107722"/>
          </a:xfrm>
          <a:prstGeom prst="rect">
            <a:avLst/>
          </a:prstGeom>
          <a:noFill/>
        </p:spPr>
        <p:txBody>
          <a:bodyPr wrap="square" lIns="0" tIns="0" rIns="0" bIns="0" rtlCol="0">
            <a:spAutoFit/>
          </a:bodyPr>
          <a:lstStyle/>
          <a:p>
            <a:pPr algn="r"/>
            <a:fld id="{98E74C09-5A80-224F-A1C1-E014C970A87A}" type="slidenum">
              <a:rPr lang="en-US" sz="7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7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6" name="Graphic 8">
            <a:extLst>
              <a:ext uri="{FF2B5EF4-FFF2-40B4-BE49-F238E27FC236}">
                <a16:creationId xmlns:a16="http://schemas.microsoft.com/office/drawing/2014/main" id="{C4AFD4EB-F6C9-277F-FE2E-63188FAF32AF}"/>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1" name="Text Placeholder 7">
            <a:extLst>
              <a:ext uri="{FF2B5EF4-FFF2-40B4-BE49-F238E27FC236}">
                <a16:creationId xmlns:a16="http://schemas.microsoft.com/office/drawing/2014/main" id="{98E3D766-28F1-02C6-F4D8-48FEDE25CF6A}"/>
              </a:ext>
            </a:extLst>
          </p:cNvPr>
          <p:cNvSpPr>
            <a:spLocks noGrp="1"/>
          </p:cNvSpPr>
          <p:nvPr>
            <p:ph type="body" sz="quarter" idx="57" hasCustomPrompt="1"/>
          </p:nvPr>
        </p:nvSpPr>
        <p:spPr>
          <a:xfrm>
            <a:off x="3162300" y="493519"/>
            <a:ext cx="8478837" cy="828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Optional – Heading]</a:t>
            </a:r>
          </a:p>
        </p:txBody>
      </p:sp>
      <p:sp>
        <p:nvSpPr>
          <p:cNvPr id="12" name="Text Placeholder 18">
            <a:extLst>
              <a:ext uri="{FF2B5EF4-FFF2-40B4-BE49-F238E27FC236}">
                <a16:creationId xmlns:a16="http://schemas.microsoft.com/office/drawing/2014/main" id="{D77AC45B-84F7-1613-D38E-92D79D26F758}"/>
              </a:ext>
            </a:extLst>
          </p:cNvPr>
          <p:cNvSpPr>
            <a:spLocks noGrp="1"/>
          </p:cNvSpPr>
          <p:nvPr>
            <p:ph type="body" sz="quarter" idx="21" hasCustomPrompt="1"/>
          </p:nvPr>
        </p:nvSpPr>
        <p:spPr>
          <a:xfrm>
            <a:off x="552450" y="127228"/>
            <a:ext cx="2355850" cy="160813"/>
          </a:xfrm>
          <a:prstGeom prst="rect">
            <a:avLst/>
          </a:prstGeom>
        </p:spPr>
        <p:txBody>
          <a:bodyPr wrap="square"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Tree>
    <p:extLst>
      <p:ext uri="{BB962C8B-B14F-4D97-AF65-F5344CB8AC3E}">
        <p14:creationId xmlns:p14="http://schemas.microsoft.com/office/powerpoint/2010/main" val="25460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B9401F-2EB1-9C2D-8A61-0732AC01B5F4}"/>
              </a:ext>
            </a:extLst>
          </p:cNvPr>
          <p:cNvGraphicFramePr>
            <a:graphicFrameLocks noChangeAspect="1"/>
          </p:cNvGraphicFramePr>
          <p:nvPr userDrawn="1">
            <p:custDataLst>
              <p:tags r:id="rId1"/>
            </p:custDataLst>
            <p:extLst>
              <p:ext uri="{D42A27DB-BD31-4B8C-83A1-F6EECF244321}">
                <p14:modId xmlns:p14="http://schemas.microsoft.com/office/powerpoint/2010/main" val="381474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05B9401F-2EB1-9C2D-8A61-0732AC01B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9F29327-316B-62D7-6BC9-27DE9F0BB32E}"/>
              </a:ext>
            </a:extLst>
          </p:cNvPr>
          <p:cNvSpPr/>
          <p:nvPr userDrawn="1"/>
        </p:nvSpPr>
        <p:spPr>
          <a:xfrm>
            <a:off x="4169187" y="0"/>
            <a:ext cx="8024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4" name="Title 10">
            <a:extLst>
              <a:ext uri="{FF2B5EF4-FFF2-40B4-BE49-F238E27FC236}">
                <a16:creationId xmlns:a16="http://schemas.microsoft.com/office/drawing/2014/main" id="{329DDC34-AF04-A7F1-8193-CE02807BEC6C}"/>
              </a:ext>
            </a:extLst>
          </p:cNvPr>
          <p:cNvSpPr>
            <a:spLocks noGrp="1"/>
          </p:cNvSpPr>
          <p:nvPr>
            <p:ph type="title" hasCustomPrompt="1"/>
          </p:nvPr>
        </p:nvSpPr>
        <p:spPr>
          <a:xfrm>
            <a:off x="552450" y="493519"/>
            <a:ext cx="2905077" cy="792000"/>
          </a:xfrm>
          <a:prstGeom prst="rect">
            <a:avLst/>
          </a:prstGeom>
        </p:spPr>
        <p:txBody>
          <a:bodyPr vert="horz" wrap="square" lIns="0" tIns="0" rIns="0" bIns="0" rtlCol="0" anchor="t" anchorCtr="0">
            <a:noAutofit/>
          </a:bodyPr>
          <a:lstStyle>
            <a:lvl1pPr>
              <a:defRPr lang="en-US"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pPr>
            <a:r>
              <a:rPr lang="en-GB" dirty="0"/>
              <a:t>Slide Title</a:t>
            </a:r>
            <a:endParaRPr lang="en-US" dirty="0"/>
          </a:p>
        </p:txBody>
      </p:sp>
      <p:sp>
        <p:nvSpPr>
          <p:cNvPr id="7" name="Text Placeholder 2">
            <a:extLst>
              <a:ext uri="{FF2B5EF4-FFF2-40B4-BE49-F238E27FC236}">
                <a16:creationId xmlns:a16="http://schemas.microsoft.com/office/drawing/2014/main" id="{3BCC6B31-6134-1F64-BAB5-7FE60512C2CF}"/>
              </a:ext>
            </a:extLst>
          </p:cNvPr>
          <p:cNvSpPr>
            <a:spLocks noGrp="1"/>
          </p:cNvSpPr>
          <p:nvPr>
            <p:ph type="body" sz="quarter" idx="18" hasCustomPrompt="1"/>
          </p:nvPr>
        </p:nvSpPr>
        <p:spPr>
          <a:xfrm>
            <a:off x="4421321" y="6493073"/>
            <a:ext cx="5900876" cy="120174"/>
          </a:xfrm>
          <a:prstGeom prst="rect">
            <a:avLst/>
          </a:prstGeom>
        </p:spPr>
        <p:txBody>
          <a:bodyPr bIns="0" anchor="b"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9" name="Text Placeholder 2">
            <a:extLst>
              <a:ext uri="{FF2B5EF4-FFF2-40B4-BE49-F238E27FC236}">
                <a16:creationId xmlns:a16="http://schemas.microsoft.com/office/drawing/2014/main" id="{F0F3FA72-5490-2DB2-C8C8-3AD2E5B50726}"/>
              </a:ext>
            </a:extLst>
          </p:cNvPr>
          <p:cNvSpPr>
            <a:spLocks noGrp="1"/>
          </p:cNvSpPr>
          <p:nvPr>
            <p:ph type="body" sz="quarter" idx="19" hasCustomPrompt="1"/>
          </p:nvPr>
        </p:nvSpPr>
        <p:spPr>
          <a:xfrm>
            <a:off x="4421321" y="6623050"/>
            <a:ext cx="5900876" cy="117525"/>
          </a:xfrm>
          <a:prstGeom prst="rect">
            <a:avLst/>
          </a:prstGeom>
        </p:spPr>
        <p:txBody>
          <a:bodyPr anchor="ctr"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
        <p:nvSpPr>
          <p:cNvPr id="2" name="Text Placeholder 7">
            <a:extLst>
              <a:ext uri="{FF2B5EF4-FFF2-40B4-BE49-F238E27FC236}">
                <a16:creationId xmlns:a16="http://schemas.microsoft.com/office/drawing/2014/main" id="{26026D6E-8D24-8390-AE0C-1754DF0AAC68}"/>
              </a:ext>
            </a:extLst>
          </p:cNvPr>
          <p:cNvSpPr>
            <a:spLocks noGrp="1"/>
          </p:cNvSpPr>
          <p:nvPr>
            <p:ph type="body" sz="quarter" idx="57" hasCustomPrompt="1"/>
          </p:nvPr>
        </p:nvSpPr>
        <p:spPr>
          <a:xfrm>
            <a:off x="4421320" y="493519"/>
            <a:ext cx="7219817" cy="361959"/>
          </a:xfrm>
          <a:prstGeom prst="rect">
            <a:avLst/>
          </a:prstGeom>
        </p:spPr>
        <p:txBody>
          <a:bodyPr vert="horz" wrap="square" lIns="0" tIns="0" rIns="0" bIns="0" rtlCol="0" anchor="t" anchorCtr="0">
            <a:sp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Optional – Heading]</a:t>
            </a:r>
          </a:p>
        </p:txBody>
      </p:sp>
      <p:sp>
        <p:nvSpPr>
          <p:cNvPr id="8" name="Graphic 8">
            <a:extLst>
              <a:ext uri="{FF2B5EF4-FFF2-40B4-BE49-F238E27FC236}">
                <a16:creationId xmlns:a16="http://schemas.microsoft.com/office/drawing/2014/main" id="{5B9EC013-9E0B-6AAB-312D-D6B50707E7B5}"/>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7" name="TextBox 16">
            <a:extLst>
              <a:ext uri="{FF2B5EF4-FFF2-40B4-BE49-F238E27FC236}">
                <a16:creationId xmlns:a16="http://schemas.microsoft.com/office/drawing/2014/main" id="{D5BBBAEA-9A0F-DD71-FAB1-452876719858}"/>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9" name="TextBox 18">
            <a:extLst>
              <a:ext uri="{FF2B5EF4-FFF2-40B4-BE49-F238E27FC236}">
                <a16:creationId xmlns:a16="http://schemas.microsoft.com/office/drawing/2014/main" id="{B16F23D1-DE9F-D038-B2EA-E7A239DBA0A1}"/>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0" name="Text Placeholder 18">
            <a:extLst>
              <a:ext uri="{FF2B5EF4-FFF2-40B4-BE49-F238E27FC236}">
                <a16:creationId xmlns:a16="http://schemas.microsoft.com/office/drawing/2014/main" id="{2EF16DB3-993A-0A34-6D8D-622EBA47AA9D}"/>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Tree>
    <p:extLst>
      <p:ext uri="{BB962C8B-B14F-4D97-AF65-F5344CB8AC3E}">
        <p14:creationId xmlns:p14="http://schemas.microsoft.com/office/powerpoint/2010/main" val="314128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18ED3EE-BDAF-380D-3DBB-4AD1EC26110A}"/>
              </a:ext>
            </a:extLst>
          </p:cNvPr>
          <p:cNvGraphicFramePr>
            <a:graphicFrameLocks noChangeAspect="1"/>
          </p:cNvGraphicFramePr>
          <p:nvPr userDrawn="1">
            <p:custDataLst>
              <p:tags r:id="rId1"/>
            </p:custDataLst>
            <p:extLst>
              <p:ext uri="{D42A27DB-BD31-4B8C-83A1-F6EECF244321}">
                <p14:modId xmlns:p14="http://schemas.microsoft.com/office/powerpoint/2010/main" val="470419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218ED3EE-BDAF-380D-3DBB-4AD1EC2611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E743E451-1D45-7D82-22E4-DA7736947C5F}"/>
              </a:ext>
            </a:extLst>
          </p:cNvPr>
          <p:cNvSpPr/>
          <p:nvPr userDrawn="1"/>
        </p:nvSpPr>
        <p:spPr>
          <a:xfrm>
            <a:off x="6096794" y="0"/>
            <a:ext cx="60967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 name="Text Placeholder 7">
            <a:extLst>
              <a:ext uri="{FF2B5EF4-FFF2-40B4-BE49-F238E27FC236}">
                <a16:creationId xmlns:a16="http://schemas.microsoft.com/office/drawing/2014/main" id="{B1954C7E-1630-DDFE-A84E-561541196631}"/>
              </a:ext>
            </a:extLst>
          </p:cNvPr>
          <p:cNvSpPr>
            <a:spLocks noGrp="1"/>
          </p:cNvSpPr>
          <p:nvPr>
            <p:ph type="body" sz="quarter" idx="57" hasCustomPrompt="1"/>
          </p:nvPr>
        </p:nvSpPr>
        <p:spPr>
          <a:xfrm>
            <a:off x="6348413" y="493519"/>
            <a:ext cx="5292725"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Optional – Heading]</a:t>
            </a:r>
          </a:p>
        </p:txBody>
      </p:sp>
      <p:sp>
        <p:nvSpPr>
          <p:cNvPr id="3" name="Text Placeholder 7">
            <a:extLst>
              <a:ext uri="{FF2B5EF4-FFF2-40B4-BE49-F238E27FC236}">
                <a16:creationId xmlns:a16="http://schemas.microsoft.com/office/drawing/2014/main" id="{702B4E04-9520-A439-BC4D-79F5DC922C8E}"/>
              </a:ext>
            </a:extLst>
          </p:cNvPr>
          <p:cNvSpPr>
            <a:spLocks noGrp="1"/>
          </p:cNvSpPr>
          <p:nvPr>
            <p:ph type="body" sz="quarter" idx="58" hasCustomPrompt="1"/>
          </p:nvPr>
        </p:nvSpPr>
        <p:spPr>
          <a:xfrm>
            <a:off x="552450" y="493519"/>
            <a:ext cx="5292725"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Slide Title</a:t>
            </a:r>
          </a:p>
        </p:txBody>
      </p:sp>
      <p:sp>
        <p:nvSpPr>
          <p:cNvPr id="6" name="Graphic 8">
            <a:extLst>
              <a:ext uri="{FF2B5EF4-FFF2-40B4-BE49-F238E27FC236}">
                <a16:creationId xmlns:a16="http://schemas.microsoft.com/office/drawing/2014/main" id="{D50DD136-589D-6239-443A-5715D4F49DB1}"/>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0" name="TextBox 9">
            <a:extLst>
              <a:ext uri="{FF2B5EF4-FFF2-40B4-BE49-F238E27FC236}">
                <a16:creationId xmlns:a16="http://schemas.microsoft.com/office/drawing/2014/main" id="{172D0FF7-9F22-B683-F01A-B5214ED5A90C}"/>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1" name="TextBox 10">
            <a:extLst>
              <a:ext uri="{FF2B5EF4-FFF2-40B4-BE49-F238E27FC236}">
                <a16:creationId xmlns:a16="http://schemas.microsoft.com/office/drawing/2014/main" id="{430247A3-16B8-2EE8-90A1-E1396BFC5D1D}"/>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4" name="Text Placeholder 18">
            <a:extLst>
              <a:ext uri="{FF2B5EF4-FFF2-40B4-BE49-F238E27FC236}">
                <a16:creationId xmlns:a16="http://schemas.microsoft.com/office/drawing/2014/main" id="{E60BCA4B-6556-94ED-4D9E-D945E64B5141}"/>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
        <p:nvSpPr>
          <p:cNvPr id="15" name="Text Placeholder 2">
            <a:extLst>
              <a:ext uri="{FF2B5EF4-FFF2-40B4-BE49-F238E27FC236}">
                <a16:creationId xmlns:a16="http://schemas.microsoft.com/office/drawing/2014/main" id="{EC6E5EF8-0C61-A12B-8A91-91857A3136EB}"/>
              </a:ext>
            </a:extLst>
          </p:cNvPr>
          <p:cNvSpPr>
            <a:spLocks noGrp="1"/>
          </p:cNvSpPr>
          <p:nvPr>
            <p:ph type="body" sz="quarter" idx="18" hasCustomPrompt="1"/>
          </p:nvPr>
        </p:nvSpPr>
        <p:spPr>
          <a:xfrm>
            <a:off x="6348413" y="6493073"/>
            <a:ext cx="4156569" cy="120174"/>
          </a:xfrm>
          <a:prstGeom prst="rect">
            <a:avLst/>
          </a:prstGeom>
        </p:spPr>
        <p:txBody>
          <a:bodyPr bIns="0" anchor="b"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20" name="Text Placeholder 2">
            <a:extLst>
              <a:ext uri="{FF2B5EF4-FFF2-40B4-BE49-F238E27FC236}">
                <a16:creationId xmlns:a16="http://schemas.microsoft.com/office/drawing/2014/main" id="{DA82B124-9ADB-2DBA-5E21-E7990B2C7F50}"/>
              </a:ext>
            </a:extLst>
          </p:cNvPr>
          <p:cNvSpPr>
            <a:spLocks noGrp="1"/>
          </p:cNvSpPr>
          <p:nvPr>
            <p:ph type="body" sz="quarter" idx="19" hasCustomPrompt="1"/>
          </p:nvPr>
        </p:nvSpPr>
        <p:spPr>
          <a:xfrm>
            <a:off x="6348413" y="6623050"/>
            <a:ext cx="4156569" cy="117525"/>
          </a:xfrm>
          <a:prstGeom prst="rect">
            <a:avLst/>
          </a:prstGeom>
        </p:spPr>
        <p:txBody>
          <a:bodyPr anchor="ctr"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Tree>
    <p:extLst>
      <p:ext uri="{BB962C8B-B14F-4D97-AF65-F5344CB8AC3E}">
        <p14:creationId xmlns:p14="http://schemas.microsoft.com/office/powerpoint/2010/main" val="21946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82" userDrawn="1">
          <p15:clr>
            <a:srgbClr val="FBAE40"/>
          </p15:clr>
        </p15:guide>
        <p15:guide id="3" pos="3999" userDrawn="1">
          <p15:clr>
            <a:srgbClr val="FBAE40"/>
          </p15:clr>
        </p15:guide>
        <p15:guide id="4" orient="horz" pos="179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2">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C74E01-9C96-1AA1-2A41-58CD095BB4F9}"/>
              </a:ext>
            </a:extLst>
          </p:cNvPr>
          <p:cNvGraphicFramePr>
            <a:graphicFrameLocks noChangeAspect="1"/>
          </p:cNvGraphicFramePr>
          <p:nvPr userDrawn="1">
            <p:custDataLst>
              <p:tags r:id="rId1"/>
            </p:custDataLst>
            <p:extLst>
              <p:ext uri="{D42A27DB-BD31-4B8C-83A1-F6EECF244321}">
                <p14:modId xmlns:p14="http://schemas.microsoft.com/office/powerpoint/2010/main" val="112520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F8C74E01-9C96-1AA1-2A41-58CD095BB4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6027B08-C268-556E-F827-F45C9D54A407}"/>
              </a:ext>
            </a:extLst>
          </p:cNvPr>
          <p:cNvSpPr/>
          <p:nvPr userDrawn="1"/>
        </p:nvSpPr>
        <p:spPr>
          <a:xfrm>
            <a:off x="0" y="0"/>
            <a:ext cx="60967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1" name="Graphic 8">
            <a:extLst>
              <a:ext uri="{FF2B5EF4-FFF2-40B4-BE49-F238E27FC236}">
                <a16:creationId xmlns:a16="http://schemas.microsoft.com/office/drawing/2014/main" id="{C2493AD6-B282-A333-C0A5-B02E67CAEA82}"/>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4" name="Text Placeholder 7">
            <a:extLst>
              <a:ext uri="{FF2B5EF4-FFF2-40B4-BE49-F238E27FC236}">
                <a16:creationId xmlns:a16="http://schemas.microsoft.com/office/drawing/2014/main" id="{8237D115-E224-FB9C-BF78-CBDDF61160CB}"/>
              </a:ext>
            </a:extLst>
          </p:cNvPr>
          <p:cNvSpPr>
            <a:spLocks noGrp="1"/>
          </p:cNvSpPr>
          <p:nvPr>
            <p:ph type="body" sz="quarter" idx="57" hasCustomPrompt="1"/>
          </p:nvPr>
        </p:nvSpPr>
        <p:spPr>
          <a:xfrm>
            <a:off x="6348413" y="493519"/>
            <a:ext cx="5292725"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Optional – Heading]</a:t>
            </a:r>
          </a:p>
        </p:txBody>
      </p:sp>
      <p:sp>
        <p:nvSpPr>
          <p:cNvPr id="16" name="Text Placeholder 7">
            <a:extLst>
              <a:ext uri="{FF2B5EF4-FFF2-40B4-BE49-F238E27FC236}">
                <a16:creationId xmlns:a16="http://schemas.microsoft.com/office/drawing/2014/main" id="{A1AD8532-2350-D0BA-5B8C-9790F6F5640B}"/>
              </a:ext>
            </a:extLst>
          </p:cNvPr>
          <p:cNvSpPr>
            <a:spLocks noGrp="1"/>
          </p:cNvSpPr>
          <p:nvPr>
            <p:ph type="body" sz="quarter" idx="58" hasCustomPrompt="1"/>
          </p:nvPr>
        </p:nvSpPr>
        <p:spPr>
          <a:xfrm>
            <a:off x="552450" y="493519"/>
            <a:ext cx="5292725"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Slide Title</a:t>
            </a:r>
          </a:p>
        </p:txBody>
      </p:sp>
      <p:sp>
        <p:nvSpPr>
          <p:cNvPr id="17" name="Text Placeholder 2">
            <a:extLst>
              <a:ext uri="{FF2B5EF4-FFF2-40B4-BE49-F238E27FC236}">
                <a16:creationId xmlns:a16="http://schemas.microsoft.com/office/drawing/2014/main" id="{778632DF-757A-D0C3-06FA-8F9ABB37EA19}"/>
              </a:ext>
            </a:extLst>
          </p:cNvPr>
          <p:cNvSpPr>
            <a:spLocks noGrp="1"/>
          </p:cNvSpPr>
          <p:nvPr>
            <p:ph type="body" sz="quarter" idx="18" hasCustomPrompt="1"/>
          </p:nvPr>
        </p:nvSpPr>
        <p:spPr>
          <a:xfrm>
            <a:off x="6348413" y="6493073"/>
            <a:ext cx="4156569" cy="120174"/>
          </a:xfrm>
          <a:prstGeom prst="rect">
            <a:avLst/>
          </a:prstGeom>
        </p:spPr>
        <p:txBody>
          <a:bodyPr bIns="0" anchor="b"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18" name="Text Placeholder 2">
            <a:extLst>
              <a:ext uri="{FF2B5EF4-FFF2-40B4-BE49-F238E27FC236}">
                <a16:creationId xmlns:a16="http://schemas.microsoft.com/office/drawing/2014/main" id="{F9F454A0-DDD4-A034-798F-40432A940915}"/>
              </a:ext>
            </a:extLst>
          </p:cNvPr>
          <p:cNvSpPr>
            <a:spLocks noGrp="1"/>
          </p:cNvSpPr>
          <p:nvPr>
            <p:ph type="body" sz="quarter" idx="19" hasCustomPrompt="1"/>
          </p:nvPr>
        </p:nvSpPr>
        <p:spPr>
          <a:xfrm>
            <a:off x="6348413" y="6623050"/>
            <a:ext cx="4156569" cy="117525"/>
          </a:xfrm>
          <a:prstGeom prst="rect">
            <a:avLst/>
          </a:prstGeom>
        </p:spPr>
        <p:txBody>
          <a:bodyPr anchor="ctr"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
        <p:nvSpPr>
          <p:cNvPr id="19" name="TextBox 18">
            <a:extLst>
              <a:ext uri="{FF2B5EF4-FFF2-40B4-BE49-F238E27FC236}">
                <a16:creationId xmlns:a16="http://schemas.microsoft.com/office/drawing/2014/main" id="{E98BDC7B-7D36-C533-CD91-F9452CE628C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20" name="TextBox 19">
            <a:extLst>
              <a:ext uri="{FF2B5EF4-FFF2-40B4-BE49-F238E27FC236}">
                <a16:creationId xmlns:a16="http://schemas.microsoft.com/office/drawing/2014/main" id="{2C7C0672-2FA2-A9F1-C63A-F71D78E88307}"/>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4" name="Text Placeholder 18">
            <a:extLst>
              <a:ext uri="{FF2B5EF4-FFF2-40B4-BE49-F238E27FC236}">
                <a16:creationId xmlns:a16="http://schemas.microsoft.com/office/drawing/2014/main" id="{DA1C04B8-63E5-36D8-B8C7-067FFC7D6978}"/>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Tree>
    <p:extLst>
      <p:ext uri="{BB962C8B-B14F-4D97-AF65-F5344CB8AC3E}">
        <p14:creationId xmlns:p14="http://schemas.microsoft.com/office/powerpoint/2010/main" val="11054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82" userDrawn="1">
          <p15:clr>
            <a:srgbClr val="FBAE40"/>
          </p15:clr>
        </p15:guide>
        <p15:guide id="3" pos="3999" userDrawn="1">
          <p15:clr>
            <a:srgbClr val="FBAE40"/>
          </p15:clr>
        </p15:guide>
        <p15:guide id="4" orient="horz" pos="179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3">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B9401F-2EB1-9C2D-8A61-0732AC01B5F4}"/>
              </a:ext>
            </a:extLst>
          </p:cNvPr>
          <p:cNvGraphicFramePr>
            <a:graphicFrameLocks noChangeAspect="1"/>
          </p:cNvGraphicFramePr>
          <p:nvPr userDrawn="1">
            <p:custDataLst>
              <p:tags r:id="rId1"/>
            </p:custDataLst>
            <p:extLst>
              <p:ext uri="{D42A27DB-BD31-4B8C-83A1-F6EECF244321}">
                <p14:modId xmlns:p14="http://schemas.microsoft.com/office/powerpoint/2010/main" val="3069954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05B9401F-2EB1-9C2D-8A61-0732AC01B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9F29327-316B-62D7-6BC9-27DE9F0BB32E}"/>
              </a:ext>
            </a:extLst>
          </p:cNvPr>
          <p:cNvSpPr/>
          <p:nvPr userDrawn="1"/>
        </p:nvSpPr>
        <p:spPr>
          <a:xfrm>
            <a:off x="0" y="0"/>
            <a:ext cx="8024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4" name="Text Placeholder 7">
            <a:extLst>
              <a:ext uri="{FF2B5EF4-FFF2-40B4-BE49-F238E27FC236}">
                <a16:creationId xmlns:a16="http://schemas.microsoft.com/office/drawing/2014/main" id="{104F85A0-2918-028D-1F3D-4DD955589B1A}"/>
              </a:ext>
            </a:extLst>
          </p:cNvPr>
          <p:cNvSpPr>
            <a:spLocks noGrp="1"/>
          </p:cNvSpPr>
          <p:nvPr>
            <p:ph type="body" sz="quarter" idx="57" hasCustomPrompt="1"/>
          </p:nvPr>
        </p:nvSpPr>
        <p:spPr>
          <a:xfrm>
            <a:off x="555625" y="492125"/>
            <a:ext cx="7032624"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Slide Title</a:t>
            </a:r>
          </a:p>
        </p:txBody>
      </p:sp>
      <p:sp>
        <p:nvSpPr>
          <p:cNvPr id="3" name="Text Placeholder 13">
            <a:extLst>
              <a:ext uri="{FF2B5EF4-FFF2-40B4-BE49-F238E27FC236}">
                <a16:creationId xmlns:a16="http://schemas.microsoft.com/office/drawing/2014/main" id="{5CADBA51-9A50-B88C-1D9D-033D4D9BC52E}"/>
              </a:ext>
            </a:extLst>
          </p:cNvPr>
          <p:cNvSpPr>
            <a:spLocks noGrp="1"/>
          </p:cNvSpPr>
          <p:nvPr>
            <p:ph type="body" sz="quarter" idx="58" hasCustomPrompt="1"/>
          </p:nvPr>
        </p:nvSpPr>
        <p:spPr>
          <a:xfrm>
            <a:off x="8554720" y="492125"/>
            <a:ext cx="3048469"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Conclusion</a:t>
            </a:r>
          </a:p>
        </p:txBody>
      </p:sp>
      <p:sp>
        <p:nvSpPr>
          <p:cNvPr id="4" name="Graphic 8">
            <a:extLst>
              <a:ext uri="{FF2B5EF4-FFF2-40B4-BE49-F238E27FC236}">
                <a16:creationId xmlns:a16="http://schemas.microsoft.com/office/drawing/2014/main" id="{8313C5A4-0B29-440E-3CDD-9C9394AA8325}"/>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2B4D6061-116A-AC4A-B2E6-305996AEC30B}"/>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7" name="TextBox 6">
            <a:extLst>
              <a:ext uri="{FF2B5EF4-FFF2-40B4-BE49-F238E27FC236}">
                <a16:creationId xmlns:a16="http://schemas.microsoft.com/office/drawing/2014/main" id="{2C9EECF7-FA20-03CE-8243-4E43160C49A2}"/>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1" name="Text Placeholder 18">
            <a:extLst>
              <a:ext uri="{FF2B5EF4-FFF2-40B4-BE49-F238E27FC236}">
                <a16:creationId xmlns:a16="http://schemas.microsoft.com/office/drawing/2014/main" id="{598C0F2A-4DE2-4741-6629-DDB7D3EFECD3}"/>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
        <p:nvSpPr>
          <p:cNvPr id="12" name="Text Placeholder 2">
            <a:extLst>
              <a:ext uri="{FF2B5EF4-FFF2-40B4-BE49-F238E27FC236}">
                <a16:creationId xmlns:a16="http://schemas.microsoft.com/office/drawing/2014/main" id="{D4CCDD35-9EB6-F358-DB9B-59626DE55E15}"/>
              </a:ext>
            </a:extLst>
          </p:cNvPr>
          <p:cNvSpPr>
            <a:spLocks noGrp="1"/>
          </p:cNvSpPr>
          <p:nvPr>
            <p:ph type="body" sz="quarter" idx="18" hasCustomPrompt="1"/>
          </p:nvPr>
        </p:nvSpPr>
        <p:spPr>
          <a:xfrm>
            <a:off x="1117901" y="6493073"/>
            <a:ext cx="6470347" cy="120174"/>
          </a:xfrm>
          <a:prstGeom prst="rect">
            <a:avLst/>
          </a:prstGeom>
        </p:spPr>
        <p:txBody>
          <a:bodyPr bIns="0" anchor="b"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13" name="Text Placeholder 2">
            <a:extLst>
              <a:ext uri="{FF2B5EF4-FFF2-40B4-BE49-F238E27FC236}">
                <a16:creationId xmlns:a16="http://schemas.microsoft.com/office/drawing/2014/main" id="{45744A89-A7BA-E970-16A5-24B7FF9324D4}"/>
              </a:ext>
            </a:extLst>
          </p:cNvPr>
          <p:cNvSpPr>
            <a:spLocks noGrp="1"/>
          </p:cNvSpPr>
          <p:nvPr>
            <p:ph type="body" sz="quarter" idx="19" hasCustomPrompt="1"/>
          </p:nvPr>
        </p:nvSpPr>
        <p:spPr>
          <a:xfrm>
            <a:off x="1117901" y="6623050"/>
            <a:ext cx="6470347" cy="117525"/>
          </a:xfrm>
          <a:prstGeom prst="rect">
            <a:avLst/>
          </a:prstGeom>
        </p:spPr>
        <p:txBody>
          <a:bodyPr anchor="ctr"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Tree>
    <p:extLst>
      <p:ext uri="{BB962C8B-B14F-4D97-AF65-F5344CB8AC3E}">
        <p14:creationId xmlns:p14="http://schemas.microsoft.com/office/powerpoint/2010/main" val="306454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BF88309-E1D9-E814-9D93-BF6F5F5FE5BE}"/>
              </a:ext>
            </a:extLst>
          </p:cNvPr>
          <p:cNvGraphicFramePr>
            <a:graphicFrameLocks noChangeAspect="1"/>
          </p:cNvGraphicFramePr>
          <p:nvPr userDrawn="1">
            <p:custDataLst>
              <p:tags r:id="rId1"/>
            </p:custDataLst>
            <p:extLst>
              <p:ext uri="{D42A27DB-BD31-4B8C-83A1-F6EECF244321}">
                <p14:modId xmlns:p14="http://schemas.microsoft.com/office/powerpoint/2010/main" val="670310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BBF88309-E1D9-E814-9D93-BF6F5F5FE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Graphic 8">
            <a:extLst>
              <a:ext uri="{FF2B5EF4-FFF2-40B4-BE49-F238E27FC236}">
                <a16:creationId xmlns:a16="http://schemas.microsoft.com/office/drawing/2014/main" id="{2FE5E698-8B97-595A-5402-C28D2403B9CE}"/>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5" name="TextBox 4">
            <a:extLst>
              <a:ext uri="{FF2B5EF4-FFF2-40B4-BE49-F238E27FC236}">
                <a16:creationId xmlns:a16="http://schemas.microsoft.com/office/drawing/2014/main" id="{E6A4461D-CE92-152F-6E0E-099CD0D49AEE}"/>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6" name="TextBox 5">
            <a:extLst>
              <a:ext uri="{FF2B5EF4-FFF2-40B4-BE49-F238E27FC236}">
                <a16:creationId xmlns:a16="http://schemas.microsoft.com/office/drawing/2014/main" id="{6A2D4DFB-7E1E-9F6B-3A99-245B8B97E173}"/>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422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81E8CA-A95C-9C91-F3EB-65F59A82681E}"/>
              </a:ext>
            </a:extLst>
          </p:cNvPr>
          <p:cNvGraphicFramePr>
            <a:graphicFrameLocks noChangeAspect="1"/>
          </p:cNvGraphicFramePr>
          <p:nvPr userDrawn="1">
            <p:custDataLst>
              <p:tags r:id="rId1"/>
            </p:custDataLst>
            <p:extLst>
              <p:ext uri="{D42A27DB-BD31-4B8C-83A1-F6EECF244321}">
                <p14:modId xmlns:p14="http://schemas.microsoft.com/office/powerpoint/2010/main" val="293746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E81E8CA-A95C-9C91-F3EB-65F59A826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0">
            <a:extLst>
              <a:ext uri="{FF2B5EF4-FFF2-40B4-BE49-F238E27FC236}">
                <a16:creationId xmlns:a16="http://schemas.microsoft.com/office/drawing/2014/main" id="{BE9FAF82-B37C-D0AE-642B-951EF9DC720E}"/>
              </a:ext>
            </a:extLst>
          </p:cNvPr>
          <p:cNvSpPr>
            <a:spLocks noGrp="1"/>
          </p:cNvSpPr>
          <p:nvPr>
            <p:ph type="title" hasCustomPrompt="1"/>
          </p:nvPr>
        </p:nvSpPr>
        <p:spPr>
          <a:xfrm>
            <a:off x="336550" y="3198590"/>
            <a:ext cx="11520488" cy="523220"/>
          </a:xfrm>
          <a:prstGeom prst="rect">
            <a:avLst/>
          </a:prstGeom>
        </p:spPr>
        <p:txBody>
          <a:bodyPr vert="horz" wrap="square" lIns="0" tIns="0" rIns="0" bIns="0" rtlCol="0" anchor="t" anchorCtr="0">
            <a:spAutoFit/>
          </a:bodyPr>
          <a:lstStyle>
            <a:lvl1pPr algn="ctr">
              <a:defRPr lang="en-GB" sz="4000" dirty="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dirty="0"/>
              <a:t>Section break heading</a:t>
            </a:r>
            <a:endParaRPr lang="en-GB" dirty="0"/>
          </a:p>
        </p:txBody>
      </p:sp>
      <p:sp>
        <p:nvSpPr>
          <p:cNvPr id="12" name="Graphic 8">
            <a:extLst>
              <a:ext uri="{FF2B5EF4-FFF2-40B4-BE49-F238E27FC236}">
                <a16:creationId xmlns:a16="http://schemas.microsoft.com/office/drawing/2014/main" id="{458458BE-AD14-A29D-382B-661C528A7E9E}"/>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DD3D06A3-F6A6-DF35-059D-8F0B9219645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4" name="TextBox 13">
            <a:extLst>
              <a:ext uri="{FF2B5EF4-FFF2-40B4-BE49-F238E27FC236}">
                <a16:creationId xmlns:a16="http://schemas.microsoft.com/office/drawing/2014/main" id="{0D4D1599-7F76-5487-F97F-883890C50B1D}"/>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2437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0637F07-05BA-90D9-F165-C9EE464A52C8}"/>
              </a:ext>
            </a:extLst>
          </p:cNvPr>
          <p:cNvGraphicFramePr>
            <a:graphicFrameLocks noChangeAspect="1"/>
          </p:cNvGraphicFramePr>
          <p:nvPr userDrawn="1">
            <p:custDataLst>
              <p:tags r:id="rId1"/>
            </p:custDataLst>
            <p:extLst>
              <p:ext uri="{D42A27DB-BD31-4B8C-83A1-F6EECF244321}">
                <p14:modId xmlns:p14="http://schemas.microsoft.com/office/powerpoint/2010/main" val="3122454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40637F07-05BA-90D9-F165-C9EE464A5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Graphic 12">
            <a:extLst>
              <a:ext uri="{FF2B5EF4-FFF2-40B4-BE49-F238E27FC236}">
                <a16:creationId xmlns:a16="http://schemas.microsoft.com/office/drawing/2014/main" id="{8428663E-F8F1-7259-3CEB-6D41E5527FAE}"/>
              </a:ext>
            </a:extLst>
          </p:cNvPr>
          <p:cNvSpPr/>
          <p:nvPr/>
        </p:nvSpPr>
        <p:spPr>
          <a:xfrm>
            <a:off x="0" y="0"/>
            <a:ext cx="12197762" cy="6858000"/>
          </a:xfrm>
          <a:custGeom>
            <a:avLst/>
            <a:gdLst>
              <a:gd name="connsiteX0" fmla="*/ 459427 w 7285564"/>
              <a:gd name="connsiteY0" fmla="*/ 452669 h 4096194"/>
              <a:gd name="connsiteX1" fmla="*/ 6826138 w 7285564"/>
              <a:gd name="connsiteY1" fmla="*/ 452669 h 4096194"/>
              <a:gd name="connsiteX2" fmla="*/ 6826138 w 7285564"/>
              <a:gd name="connsiteY2" fmla="*/ 1764364 h 4096194"/>
              <a:gd name="connsiteX3" fmla="*/ 4977338 w 7285564"/>
              <a:gd name="connsiteY3" fmla="*/ 1764364 h 4096194"/>
              <a:gd name="connsiteX4" fmla="*/ 4977338 w 7285564"/>
              <a:gd name="connsiteY4" fmla="*/ 2217033 h 4096194"/>
              <a:gd name="connsiteX5" fmla="*/ 6826138 w 7285564"/>
              <a:gd name="connsiteY5" fmla="*/ 2217033 h 4096194"/>
              <a:gd name="connsiteX6" fmla="*/ 6826138 w 7285564"/>
              <a:gd name="connsiteY6" fmla="*/ 3646787 h 4096194"/>
              <a:gd name="connsiteX7" fmla="*/ 459427 w 7285564"/>
              <a:gd name="connsiteY7" fmla="*/ 3646787 h 4096194"/>
              <a:gd name="connsiteX8" fmla="*/ 459427 w 7285564"/>
              <a:gd name="connsiteY8" fmla="*/ 2217033 h 4096194"/>
              <a:gd name="connsiteX9" fmla="*/ 2308227 w 7285564"/>
              <a:gd name="connsiteY9" fmla="*/ 2217033 h 4096194"/>
              <a:gd name="connsiteX10" fmla="*/ 2308227 w 7285564"/>
              <a:gd name="connsiteY10" fmla="*/ 1764364 h 4096194"/>
              <a:gd name="connsiteX11" fmla="*/ 459427 w 7285564"/>
              <a:gd name="connsiteY11" fmla="*/ 1764364 h 4096194"/>
              <a:gd name="connsiteX12" fmla="*/ 459427 w 7285564"/>
              <a:gd name="connsiteY12" fmla="*/ 452669 h 4096194"/>
              <a:gd name="connsiteX13" fmla="*/ 0 w 7285564"/>
              <a:gd name="connsiteY13" fmla="*/ 4096194 h 4096194"/>
              <a:gd name="connsiteX14" fmla="*/ 7285565 w 7285564"/>
              <a:gd name="connsiteY14" fmla="*/ 4096194 h 4096194"/>
              <a:gd name="connsiteX15" fmla="*/ 7285565 w 7285564"/>
              <a:gd name="connsiteY15" fmla="*/ 0 h 4096194"/>
              <a:gd name="connsiteX16" fmla="*/ 0 w 7285564"/>
              <a:gd name="connsiteY16" fmla="*/ 0 h 4096194"/>
              <a:gd name="connsiteX17" fmla="*/ 0 w 7285564"/>
              <a:gd name="connsiteY17" fmla="*/ 4096194 h 409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85564" h="4096194">
                <a:moveTo>
                  <a:pt x="459427" y="452669"/>
                </a:moveTo>
                <a:lnTo>
                  <a:pt x="6826138" y="452669"/>
                </a:lnTo>
                <a:lnTo>
                  <a:pt x="6826138" y="1764364"/>
                </a:lnTo>
                <a:lnTo>
                  <a:pt x="4977338" y="1764364"/>
                </a:lnTo>
                <a:lnTo>
                  <a:pt x="4977338" y="2217033"/>
                </a:lnTo>
                <a:lnTo>
                  <a:pt x="6826138" y="2217033"/>
                </a:lnTo>
                <a:lnTo>
                  <a:pt x="6826138" y="3646787"/>
                </a:lnTo>
                <a:lnTo>
                  <a:pt x="459427" y="3646787"/>
                </a:lnTo>
                <a:lnTo>
                  <a:pt x="459427" y="2217033"/>
                </a:lnTo>
                <a:lnTo>
                  <a:pt x="2308227" y="2217033"/>
                </a:lnTo>
                <a:lnTo>
                  <a:pt x="2308227" y="1764364"/>
                </a:lnTo>
                <a:lnTo>
                  <a:pt x="459427" y="1764364"/>
                </a:lnTo>
                <a:lnTo>
                  <a:pt x="459427" y="452669"/>
                </a:lnTo>
                <a:close/>
                <a:moveTo>
                  <a:pt x="0" y="4096194"/>
                </a:moveTo>
                <a:lnTo>
                  <a:pt x="7285565" y="4096194"/>
                </a:lnTo>
                <a:lnTo>
                  <a:pt x="7285565" y="0"/>
                </a:lnTo>
                <a:lnTo>
                  <a:pt x="0" y="0"/>
                </a:lnTo>
                <a:lnTo>
                  <a:pt x="0" y="4096194"/>
                </a:lnTo>
                <a:close/>
              </a:path>
            </a:pathLst>
          </a:custGeom>
          <a:solidFill>
            <a:schemeClr val="bg1">
              <a:alpha val="40000"/>
            </a:schemeClr>
          </a:solidFill>
          <a:ln w="6526" cap="flat">
            <a:noFill/>
            <a:prstDash val="solid"/>
            <a:miter/>
          </a:ln>
        </p:spPr>
        <p:txBody>
          <a:bodyPr rtlCol="0" anchor="ctr"/>
          <a:lstStyle/>
          <a:p>
            <a:endParaRPr lang="en-US" b="0" i="0" dirty="0">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 name="Graphic 2">
            <a:extLst>
              <a:ext uri="{FF2B5EF4-FFF2-40B4-BE49-F238E27FC236}">
                <a16:creationId xmlns:a16="http://schemas.microsoft.com/office/drawing/2014/main" id="{34F4E520-0EA2-9DA4-16EC-CE94DDDD660E}"/>
              </a:ext>
            </a:extLst>
          </p:cNvPr>
          <p:cNvSpPr/>
          <p:nvPr userDrawn="1"/>
        </p:nvSpPr>
        <p:spPr>
          <a:xfrm>
            <a:off x="4931966" y="1121327"/>
            <a:ext cx="2329656" cy="1248142"/>
          </a:xfrm>
          <a:custGeom>
            <a:avLst/>
            <a:gdLst>
              <a:gd name="connsiteX0" fmla="*/ 320516 w 3810000"/>
              <a:gd name="connsiteY0" fmla="*/ 1337577 h 2041255"/>
              <a:gd name="connsiteX1" fmla="*/ 449675 w 3810000"/>
              <a:gd name="connsiteY1" fmla="*/ 1171531 h 2041255"/>
              <a:gd name="connsiteX2" fmla="*/ 252222 w 3810000"/>
              <a:gd name="connsiteY2" fmla="*/ 996846 h 2041255"/>
              <a:gd name="connsiteX3" fmla="*/ 0 w 3810000"/>
              <a:gd name="connsiteY3" fmla="*/ 996846 h 2041255"/>
              <a:gd name="connsiteX4" fmla="*/ 0 w 3810000"/>
              <a:gd name="connsiteY4" fmla="*/ 1585460 h 2041255"/>
              <a:gd name="connsiteX5" fmla="*/ 71723 w 3810000"/>
              <a:gd name="connsiteY5" fmla="*/ 1585460 h 2041255"/>
              <a:gd name="connsiteX6" fmla="*/ 71723 w 3810000"/>
              <a:gd name="connsiteY6" fmla="*/ 1346217 h 2041255"/>
              <a:gd name="connsiteX7" fmla="*/ 243078 w 3810000"/>
              <a:gd name="connsiteY7" fmla="*/ 1346217 h 2041255"/>
              <a:gd name="connsiteX8" fmla="*/ 381857 w 3810000"/>
              <a:gd name="connsiteY8" fmla="*/ 1585460 h 2041255"/>
              <a:gd name="connsiteX9" fmla="*/ 466630 w 3810000"/>
              <a:gd name="connsiteY9" fmla="*/ 1585460 h 2041255"/>
              <a:gd name="connsiteX10" fmla="*/ 320516 w 3810000"/>
              <a:gd name="connsiteY10" fmla="*/ 1337577 h 2041255"/>
              <a:gd name="connsiteX11" fmla="*/ 71723 w 3810000"/>
              <a:gd name="connsiteY11" fmla="*/ 1282513 h 2041255"/>
              <a:gd name="connsiteX12" fmla="*/ 71723 w 3810000"/>
              <a:gd name="connsiteY12" fmla="*/ 1061878 h 2041255"/>
              <a:gd name="connsiteX13" fmla="*/ 249555 w 3810000"/>
              <a:gd name="connsiteY13" fmla="*/ 1061878 h 2041255"/>
              <a:gd name="connsiteX14" fmla="*/ 374809 w 3810000"/>
              <a:gd name="connsiteY14" fmla="*/ 1171531 h 2041255"/>
              <a:gd name="connsiteX15" fmla="*/ 249555 w 3810000"/>
              <a:gd name="connsiteY15" fmla="*/ 1282513 h 2041255"/>
              <a:gd name="connsiteX16" fmla="*/ 71723 w 3810000"/>
              <a:gd name="connsiteY16" fmla="*/ 1282513 h 2041255"/>
              <a:gd name="connsiteX17" fmla="*/ 2064925 w 3810000"/>
              <a:gd name="connsiteY17" fmla="*/ 996846 h 2041255"/>
              <a:gd name="connsiteX18" fmla="*/ 2138458 w 3810000"/>
              <a:gd name="connsiteY18" fmla="*/ 996846 h 2041255"/>
              <a:gd name="connsiteX19" fmla="*/ 1963674 w 3810000"/>
              <a:gd name="connsiteY19" fmla="*/ 1585460 h 2041255"/>
              <a:gd name="connsiteX20" fmla="*/ 1858899 w 3810000"/>
              <a:gd name="connsiteY20" fmla="*/ 1585460 h 2041255"/>
              <a:gd name="connsiteX21" fmla="*/ 1711928 w 3810000"/>
              <a:gd name="connsiteY21" fmla="*/ 1106119 h 2041255"/>
              <a:gd name="connsiteX22" fmla="*/ 1564862 w 3810000"/>
              <a:gd name="connsiteY22" fmla="*/ 1585460 h 2041255"/>
              <a:gd name="connsiteX23" fmla="*/ 1460087 w 3810000"/>
              <a:gd name="connsiteY23" fmla="*/ 1585460 h 2041255"/>
              <a:gd name="connsiteX24" fmla="*/ 1285304 w 3810000"/>
              <a:gd name="connsiteY24" fmla="*/ 996846 h 2041255"/>
              <a:gd name="connsiteX25" fmla="*/ 1358837 w 3810000"/>
              <a:gd name="connsiteY25" fmla="*/ 996846 h 2041255"/>
              <a:gd name="connsiteX26" fmla="*/ 1513618 w 3810000"/>
              <a:gd name="connsiteY26" fmla="*/ 1512168 h 2041255"/>
              <a:gd name="connsiteX27" fmla="*/ 1673638 w 3810000"/>
              <a:gd name="connsiteY27" fmla="*/ 1001593 h 2041255"/>
              <a:gd name="connsiteX28" fmla="*/ 1750219 w 3810000"/>
              <a:gd name="connsiteY28" fmla="*/ 1001593 h 2041255"/>
              <a:gd name="connsiteX29" fmla="*/ 1910239 w 3810000"/>
              <a:gd name="connsiteY29" fmla="*/ 1512168 h 2041255"/>
              <a:gd name="connsiteX30" fmla="*/ 2064925 w 3810000"/>
              <a:gd name="connsiteY30" fmla="*/ 996846 h 2041255"/>
              <a:gd name="connsiteX31" fmla="*/ 2366772 w 3810000"/>
              <a:gd name="connsiteY31" fmla="*/ 996846 h 2041255"/>
              <a:gd name="connsiteX32" fmla="*/ 2438495 w 3810000"/>
              <a:gd name="connsiteY32" fmla="*/ 996846 h 2041255"/>
              <a:gd name="connsiteX33" fmla="*/ 2438495 w 3810000"/>
              <a:gd name="connsiteY33" fmla="*/ 1585460 h 2041255"/>
              <a:gd name="connsiteX34" fmla="*/ 2366772 w 3810000"/>
              <a:gd name="connsiteY34" fmla="*/ 1585460 h 2041255"/>
              <a:gd name="connsiteX35" fmla="*/ 2366772 w 3810000"/>
              <a:gd name="connsiteY35" fmla="*/ 996846 h 2041255"/>
              <a:gd name="connsiteX36" fmla="*/ 1098042 w 3810000"/>
              <a:gd name="connsiteY36" fmla="*/ 1585460 h 2041255"/>
              <a:gd name="connsiteX37" fmla="*/ 682752 w 3810000"/>
              <a:gd name="connsiteY37" fmla="*/ 1585460 h 2041255"/>
              <a:gd name="connsiteX38" fmla="*/ 682752 w 3810000"/>
              <a:gd name="connsiteY38" fmla="*/ 996846 h 2041255"/>
              <a:gd name="connsiteX39" fmla="*/ 1088898 w 3810000"/>
              <a:gd name="connsiteY39" fmla="*/ 996846 h 2041255"/>
              <a:gd name="connsiteX40" fmla="*/ 1088898 w 3810000"/>
              <a:gd name="connsiteY40" fmla="*/ 1061878 h 2041255"/>
              <a:gd name="connsiteX41" fmla="*/ 754475 w 3810000"/>
              <a:gd name="connsiteY41" fmla="*/ 1061878 h 2041255"/>
              <a:gd name="connsiteX42" fmla="*/ 754475 w 3810000"/>
              <a:gd name="connsiteY42" fmla="*/ 1250425 h 2041255"/>
              <a:gd name="connsiteX43" fmla="*/ 1043178 w 3810000"/>
              <a:gd name="connsiteY43" fmla="*/ 1250425 h 2041255"/>
              <a:gd name="connsiteX44" fmla="*/ 1043178 w 3810000"/>
              <a:gd name="connsiteY44" fmla="*/ 1315457 h 2041255"/>
              <a:gd name="connsiteX45" fmla="*/ 754475 w 3810000"/>
              <a:gd name="connsiteY45" fmla="*/ 1315457 h 2041255"/>
              <a:gd name="connsiteX46" fmla="*/ 754475 w 3810000"/>
              <a:gd name="connsiteY46" fmla="*/ 1520902 h 2041255"/>
              <a:gd name="connsiteX47" fmla="*/ 1098042 w 3810000"/>
              <a:gd name="connsiteY47" fmla="*/ 1520902 h 2041255"/>
              <a:gd name="connsiteX48" fmla="*/ 1098042 w 3810000"/>
              <a:gd name="connsiteY48" fmla="*/ 1585460 h 2041255"/>
              <a:gd name="connsiteX49" fmla="*/ 3032474 w 3810000"/>
              <a:gd name="connsiteY49" fmla="*/ 1337577 h 2041255"/>
              <a:gd name="connsiteX50" fmla="*/ 3161633 w 3810000"/>
              <a:gd name="connsiteY50" fmla="*/ 1171531 h 2041255"/>
              <a:gd name="connsiteX51" fmla="*/ 2964180 w 3810000"/>
              <a:gd name="connsiteY51" fmla="*/ 996846 h 2041255"/>
              <a:gd name="connsiteX52" fmla="*/ 2711958 w 3810000"/>
              <a:gd name="connsiteY52" fmla="*/ 996846 h 2041255"/>
              <a:gd name="connsiteX53" fmla="*/ 2711958 w 3810000"/>
              <a:gd name="connsiteY53" fmla="*/ 1585460 h 2041255"/>
              <a:gd name="connsiteX54" fmla="*/ 2783681 w 3810000"/>
              <a:gd name="connsiteY54" fmla="*/ 1585460 h 2041255"/>
              <a:gd name="connsiteX55" fmla="*/ 2783681 w 3810000"/>
              <a:gd name="connsiteY55" fmla="*/ 1346217 h 2041255"/>
              <a:gd name="connsiteX56" fmla="*/ 2955036 w 3810000"/>
              <a:gd name="connsiteY56" fmla="*/ 1346217 h 2041255"/>
              <a:gd name="connsiteX57" fmla="*/ 3093720 w 3810000"/>
              <a:gd name="connsiteY57" fmla="*/ 1585460 h 2041255"/>
              <a:gd name="connsiteX58" fmla="*/ 3178493 w 3810000"/>
              <a:gd name="connsiteY58" fmla="*/ 1585460 h 2041255"/>
              <a:gd name="connsiteX59" fmla="*/ 3032474 w 3810000"/>
              <a:gd name="connsiteY59" fmla="*/ 1337577 h 2041255"/>
              <a:gd name="connsiteX60" fmla="*/ 2783777 w 3810000"/>
              <a:gd name="connsiteY60" fmla="*/ 1282513 h 2041255"/>
              <a:gd name="connsiteX61" fmla="*/ 2783777 w 3810000"/>
              <a:gd name="connsiteY61" fmla="*/ 1061878 h 2041255"/>
              <a:gd name="connsiteX62" fmla="*/ 2961608 w 3810000"/>
              <a:gd name="connsiteY62" fmla="*/ 1061878 h 2041255"/>
              <a:gd name="connsiteX63" fmla="*/ 3086862 w 3810000"/>
              <a:gd name="connsiteY63" fmla="*/ 1171531 h 2041255"/>
              <a:gd name="connsiteX64" fmla="*/ 2961608 w 3810000"/>
              <a:gd name="connsiteY64" fmla="*/ 1282513 h 2041255"/>
              <a:gd name="connsiteX65" fmla="*/ 2783777 w 3810000"/>
              <a:gd name="connsiteY65" fmla="*/ 1282513 h 2041255"/>
              <a:gd name="connsiteX66" fmla="*/ 3810000 w 3810000"/>
              <a:gd name="connsiteY66" fmla="*/ 996846 h 2041255"/>
              <a:gd name="connsiteX67" fmla="*/ 3810000 w 3810000"/>
              <a:gd name="connsiteY67" fmla="*/ 1585460 h 2041255"/>
              <a:gd name="connsiteX68" fmla="*/ 3394710 w 3810000"/>
              <a:gd name="connsiteY68" fmla="*/ 1585460 h 2041255"/>
              <a:gd name="connsiteX69" fmla="*/ 3394710 w 3810000"/>
              <a:gd name="connsiteY69" fmla="*/ 1520902 h 2041255"/>
              <a:gd name="connsiteX70" fmla="*/ 3738277 w 3810000"/>
              <a:gd name="connsiteY70" fmla="*/ 1520902 h 2041255"/>
              <a:gd name="connsiteX71" fmla="*/ 3738277 w 3810000"/>
              <a:gd name="connsiteY71" fmla="*/ 1315457 h 2041255"/>
              <a:gd name="connsiteX72" fmla="*/ 3449574 w 3810000"/>
              <a:gd name="connsiteY72" fmla="*/ 1315457 h 2041255"/>
              <a:gd name="connsiteX73" fmla="*/ 3449574 w 3810000"/>
              <a:gd name="connsiteY73" fmla="*/ 1250425 h 2041255"/>
              <a:gd name="connsiteX74" fmla="*/ 3738277 w 3810000"/>
              <a:gd name="connsiteY74" fmla="*/ 1250425 h 2041255"/>
              <a:gd name="connsiteX75" fmla="*/ 3738277 w 3810000"/>
              <a:gd name="connsiteY75" fmla="*/ 1061878 h 2041255"/>
              <a:gd name="connsiteX76" fmla="*/ 3403854 w 3810000"/>
              <a:gd name="connsiteY76" fmla="*/ 1061878 h 2041255"/>
              <a:gd name="connsiteX77" fmla="*/ 3403854 w 3810000"/>
              <a:gd name="connsiteY77" fmla="*/ 996846 h 2041255"/>
              <a:gd name="connsiteX78" fmla="*/ 3810000 w 3810000"/>
              <a:gd name="connsiteY78" fmla="*/ 996846 h 2041255"/>
              <a:gd name="connsiteX79" fmla="*/ 43053 w 3810000"/>
              <a:gd name="connsiteY79" fmla="*/ 2038028 h 2041255"/>
              <a:gd name="connsiteX80" fmla="*/ 0 w 3810000"/>
              <a:gd name="connsiteY80" fmla="*/ 2038028 h 2041255"/>
              <a:gd name="connsiteX81" fmla="*/ 0 w 3810000"/>
              <a:gd name="connsiteY81" fmla="*/ 1822329 h 2041255"/>
              <a:gd name="connsiteX82" fmla="*/ 43053 w 3810000"/>
              <a:gd name="connsiteY82" fmla="*/ 1822329 h 2041255"/>
              <a:gd name="connsiteX83" fmla="*/ 43053 w 3810000"/>
              <a:gd name="connsiteY83" fmla="*/ 2038028 h 2041255"/>
              <a:gd name="connsiteX84" fmla="*/ 115062 w 3810000"/>
              <a:gd name="connsiteY84" fmla="*/ 1822234 h 2041255"/>
              <a:gd name="connsiteX85" fmla="*/ 160687 w 3810000"/>
              <a:gd name="connsiteY85" fmla="*/ 1822234 h 2041255"/>
              <a:gd name="connsiteX86" fmla="*/ 230505 w 3810000"/>
              <a:gd name="connsiteY86" fmla="*/ 1965875 h 2041255"/>
              <a:gd name="connsiteX87" fmla="*/ 300133 w 3810000"/>
              <a:gd name="connsiteY87" fmla="*/ 1822234 h 2041255"/>
              <a:gd name="connsiteX88" fmla="*/ 345758 w 3810000"/>
              <a:gd name="connsiteY88" fmla="*/ 1822234 h 2041255"/>
              <a:gd name="connsiteX89" fmla="*/ 345758 w 3810000"/>
              <a:gd name="connsiteY89" fmla="*/ 2037933 h 2041255"/>
              <a:gd name="connsiteX90" fmla="*/ 302705 w 3810000"/>
              <a:gd name="connsiteY90" fmla="*/ 2037933 h 2041255"/>
              <a:gd name="connsiteX91" fmla="*/ 302705 w 3810000"/>
              <a:gd name="connsiteY91" fmla="*/ 1905590 h 2041255"/>
              <a:gd name="connsiteX92" fmla="*/ 244412 w 3810000"/>
              <a:gd name="connsiteY92" fmla="*/ 2023502 h 2041255"/>
              <a:gd name="connsiteX93" fmla="*/ 216503 w 3810000"/>
              <a:gd name="connsiteY93" fmla="*/ 2023502 h 2041255"/>
              <a:gd name="connsiteX94" fmla="*/ 158210 w 3810000"/>
              <a:gd name="connsiteY94" fmla="*/ 1905590 h 2041255"/>
              <a:gd name="connsiteX95" fmla="*/ 158210 w 3810000"/>
              <a:gd name="connsiteY95" fmla="*/ 2037933 h 2041255"/>
              <a:gd name="connsiteX96" fmla="*/ 115157 w 3810000"/>
              <a:gd name="connsiteY96" fmla="*/ 2037933 h 2041255"/>
              <a:gd name="connsiteX97" fmla="*/ 115157 w 3810000"/>
              <a:gd name="connsiteY97" fmla="*/ 1822234 h 2041255"/>
              <a:gd name="connsiteX98" fmla="*/ 411099 w 3810000"/>
              <a:gd name="connsiteY98" fmla="*/ 2037838 h 2041255"/>
              <a:gd name="connsiteX99" fmla="*/ 411099 w 3810000"/>
              <a:gd name="connsiteY99" fmla="*/ 1822234 h 2041255"/>
              <a:gd name="connsiteX100" fmla="*/ 505778 w 3810000"/>
              <a:gd name="connsiteY100" fmla="*/ 1822234 h 2041255"/>
              <a:gd name="connsiteX101" fmla="*/ 583216 w 3810000"/>
              <a:gd name="connsiteY101" fmla="*/ 1893438 h 2041255"/>
              <a:gd name="connsiteX102" fmla="*/ 505778 w 3810000"/>
              <a:gd name="connsiteY102" fmla="*/ 1963787 h 2041255"/>
              <a:gd name="connsiteX103" fmla="*/ 454342 w 3810000"/>
              <a:gd name="connsiteY103" fmla="*/ 1963787 h 2041255"/>
              <a:gd name="connsiteX104" fmla="*/ 454342 w 3810000"/>
              <a:gd name="connsiteY104" fmla="*/ 2037838 h 2041255"/>
              <a:gd name="connsiteX105" fmla="*/ 411099 w 3810000"/>
              <a:gd name="connsiteY105" fmla="*/ 2037838 h 2041255"/>
              <a:gd name="connsiteX106" fmla="*/ 454342 w 3810000"/>
              <a:gd name="connsiteY106" fmla="*/ 1926571 h 2041255"/>
              <a:gd name="connsiteX107" fmla="*/ 503111 w 3810000"/>
              <a:gd name="connsiteY107" fmla="*/ 1926571 h 2041255"/>
              <a:gd name="connsiteX108" fmla="*/ 539115 w 3810000"/>
              <a:gd name="connsiteY108" fmla="*/ 1893343 h 2041255"/>
              <a:gd name="connsiteX109" fmla="*/ 503111 w 3810000"/>
              <a:gd name="connsiteY109" fmla="*/ 1859355 h 2041255"/>
              <a:gd name="connsiteX110" fmla="*/ 454342 w 3810000"/>
              <a:gd name="connsiteY110" fmla="*/ 1859355 h 2041255"/>
              <a:gd name="connsiteX111" fmla="*/ 454342 w 3810000"/>
              <a:gd name="connsiteY111" fmla="*/ 1926571 h 2041255"/>
              <a:gd name="connsiteX112" fmla="*/ 621983 w 3810000"/>
              <a:gd name="connsiteY112" fmla="*/ 1930558 h 2041255"/>
              <a:gd name="connsiteX113" fmla="*/ 735330 w 3810000"/>
              <a:gd name="connsiteY113" fmla="*/ 1819007 h 2041255"/>
              <a:gd name="connsiteX114" fmla="*/ 848773 w 3810000"/>
              <a:gd name="connsiteY114" fmla="*/ 1930558 h 2041255"/>
              <a:gd name="connsiteX115" fmla="*/ 735330 w 3810000"/>
              <a:gd name="connsiteY115" fmla="*/ 2041161 h 2041255"/>
              <a:gd name="connsiteX116" fmla="*/ 621983 w 3810000"/>
              <a:gd name="connsiteY116" fmla="*/ 1930558 h 2041255"/>
              <a:gd name="connsiteX117" fmla="*/ 735425 w 3810000"/>
              <a:gd name="connsiteY117" fmla="*/ 2001287 h 2041255"/>
              <a:gd name="connsiteX118" fmla="*/ 804577 w 3810000"/>
              <a:gd name="connsiteY118" fmla="*/ 1930463 h 2041255"/>
              <a:gd name="connsiteX119" fmla="*/ 735425 w 3810000"/>
              <a:gd name="connsiteY119" fmla="*/ 1859165 h 2041255"/>
              <a:gd name="connsiteX120" fmla="*/ 666274 w 3810000"/>
              <a:gd name="connsiteY120" fmla="*/ 1930463 h 2041255"/>
              <a:gd name="connsiteX121" fmla="*/ 735425 w 3810000"/>
              <a:gd name="connsiteY121" fmla="*/ 2001287 h 2041255"/>
              <a:gd name="connsiteX122" fmla="*/ 918496 w 3810000"/>
              <a:gd name="connsiteY122" fmla="*/ 1967299 h 2041255"/>
              <a:gd name="connsiteX123" fmla="*/ 974122 w 3810000"/>
              <a:gd name="connsiteY123" fmla="*/ 2002426 h 2041255"/>
              <a:gd name="connsiteX124" fmla="*/ 1011269 w 3810000"/>
              <a:gd name="connsiteY124" fmla="*/ 1978407 h 2041255"/>
              <a:gd name="connsiteX125" fmla="*/ 969359 w 3810000"/>
              <a:gd name="connsiteY125" fmla="*/ 1948407 h 2041255"/>
              <a:gd name="connsiteX126" fmla="*/ 893826 w 3810000"/>
              <a:gd name="connsiteY126" fmla="*/ 1881001 h 2041255"/>
              <a:gd name="connsiteX127" fmla="*/ 970502 w 3810000"/>
              <a:gd name="connsiteY127" fmla="*/ 1819007 h 2041255"/>
              <a:gd name="connsiteX128" fmla="*/ 1050512 w 3810000"/>
              <a:gd name="connsiteY128" fmla="*/ 1865906 h 2041255"/>
              <a:gd name="connsiteX129" fmla="*/ 1017365 w 3810000"/>
              <a:gd name="connsiteY129" fmla="*/ 1889450 h 2041255"/>
              <a:gd name="connsiteX130" fmla="*/ 969359 w 3810000"/>
              <a:gd name="connsiteY130" fmla="*/ 1857836 h 2041255"/>
              <a:gd name="connsiteX131" fmla="*/ 937832 w 3810000"/>
              <a:gd name="connsiteY131" fmla="*/ 1880906 h 2041255"/>
              <a:gd name="connsiteX132" fmla="*/ 980694 w 3810000"/>
              <a:gd name="connsiteY132" fmla="*/ 1910337 h 2041255"/>
              <a:gd name="connsiteX133" fmla="*/ 1055084 w 3810000"/>
              <a:gd name="connsiteY133" fmla="*/ 1978217 h 2041255"/>
              <a:gd name="connsiteX134" fmla="*/ 973646 w 3810000"/>
              <a:gd name="connsiteY134" fmla="*/ 2041256 h 2041255"/>
              <a:gd name="connsiteX135" fmla="*/ 886778 w 3810000"/>
              <a:gd name="connsiteY135" fmla="*/ 1990274 h 2041255"/>
              <a:gd name="connsiteX136" fmla="*/ 918496 w 3810000"/>
              <a:gd name="connsiteY136" fmla="*/ 1967299 h 2041255"/>
              <a:gd name="connsiteX137" fmla="*/ 1124998 w 3810000"/>
              <a:gd name="connsiteY137" fmla="*/ 1967299 h 2041255"/>
              <a:gd name="connsiteX138" fmla="*/ 1180624 w 3810000"/>
              <a:gd name="connsiteY138" fmla="*/ 2002426 h 2041255"/>
              <a:gd name="connsiteX139" fmla="*/ 1217771 w 3810000"/>
              <a:gd name="connsiteY139" fmla="*/ 1978407 h 2041255"/>
              <a:gd name="connsiteX140" fmla="*/ 1175861 w 3810000"/>
              <a:gd name="connsiteY140" fmla="*/ 1948407 h 2041255"/>
              <a:gd name="connsiteX141" fmla="*/ 1100328 w 3810000"/>
              <a:gd name="connsiteY141" fmla="*/ 1881001 h 2041255"/>
              <a:gd name="connsiteX142" fmla="*/ 1177004 w 3810000"/>
              <a:gd name="connsiteY142" fmla="*/ 1819007 h 2041255"/>
              <a:gd name="connsiteX143" fmla="*/ 1257014 w 3810000"/>
              <a:gd name="connsiteY143" fmla="*/ 1865906 h 2041255"/>
              <a:gd name="connsiteX144" fmla="*/ 1223867 w 3810000"/>
              <a:gd name="connsiteY144" fmla="*/ 1889450 h 2041255"/>
              <a:gd name="connsiteX145" fmla="*/ 1175861 w 3810000"/>
              <a:gd name="connsiteY145" fmla="*/ 1857836 h 2041255"/>
              <a:gd name="connsiteX146" fmla="*/ 1144334 w 3810000"/>
              <a:gd name="connsiteY146" fmla="*/ 1880906 h 2041255"/>
              <a:gd name="connsiteX147" fmla="*/ 1187196 w 3810000"/>
              <a:gd name="connsiteY147" fmla="*/ 1910337 h 2041255"/>
              <a:gd name="connsiteX148" fmla="*/ 1261586 w 3810000"/>
              <a:gd name="connsiteY148" fmla="*/ 1978217 h 2041255"/>
              <a:gd name="connsiteX149" fmla="*/ 1180148 w 3810000"/>
              <a:gd name="connsiteY149" fmla="*/ 2041256 h 2041255"/>
              <a:gd name="connsiteX150" fmla="*/ 1093280 w 3810000"/>
              <a:gd name="connsiteY150" fmla="*/ 1990274 h 2041255"/>
              <a:gd name="connsiteX151" fmla="*/ 1124998 w 3810000"/>
              <a:gd name="connsiteY151" fmla="*/ 1967299 h 2041255"/>
              <a:gd name="connsiteX152" fmla="*/ 1362837 w 3810000"/>
              <a:gd name="connsiteY152" fmla="*/ 2038028 h 2041255"/>
              <a:gd name="connsiteX153" fmla="*/ 1319784 w 3810000"/>
              <a:gd name="connsiteY153" fmla="*/ 2038028 h 2041255"/>
              <a:gd name="connsiteX154" fmla="*/ 1319784 w 3810000"/>
              <a:gd name="connsiteY154" fmla="*/ 1822329 h 2041255"/>
              <a:gd name="connsiteX155" fmla="*/ 1362837 w 3810000"/>
              <a:gd name="connsiteY155" fmla="*/ 1822329 h 2041255"/>
              <a:gd name="connsiteX156" fmla="*/ 1362837 w 3810000"/>
              <a:gd name="connsiteY156" fmla="*/ 2038028 h 2041255"/>
              <a:gd name="connsiteX157" fmla="*/ 1428274 w 3810000"/>
              <a:gd name="connsiteY157" fmla="*/ 1822234 h 2041255"/>
              <a:gd name="connsiteX158" fmla="*/ 1527905 w 3810000"/>
              <a:gd name="connsiteY158" fmla="*/ 1822234 h 2041255"/>
              <a:gd name="connsiteX159" fmla="*/ 1594866 w 3810000"/>
              <a:gd name="connsiteY159" fmla="*/ 1881191 h 2041255"/>
              <a:gd name="connsiteX160" fmla="*/ 1565815 w 3810000"/>
              <a:gd name="connsiteY160" fmla="*/ 1925811 h 2041255"/>
              <a:gd name="connsiteX161" fmla="*/ 1602200 w 3810000"/>
              <a:gd name="connsiteY161" fmla="*/ 1978122 h 2041255"/>
              <a:gd name="connsiteX162" fmla="*/ 1534954 w 3810000"/>
              <a:gd name="connsiteY162" fmla="*/ 2038028 h 2041255"/>
              <a:gd name="connsiteX163" fmla="*/ 1428274 w 3810000"/>
              <a:gd name="connsiteY163" fmla="*/ 2038028 h 2041255"/>
              <a:gd name="connsiteX164" fmla="*/ 1428274 w 3810000"/>
              <a:gd name="connsiteY164" fmla="*/ 1822234 h 2041255"/>
              <a:gd name="connsiteX165" fmla="*/ 1471327 w 3810000"/>
              <a:gd name="connsiteY165" fmla="*/ 1859070 h 2041255"/>
              <a:gd name="connsiteX166" fmla="*/ 1471327 w 3810000"/>
              <a:gd name="connsiteY166" fmla="*/ 1911856 h 2041255"/>
              <a:gd name="connsiteX167" fmla="*/ 1522190 w 3810000"/>
              <a:gd name="connsiteY167" fmla="*/ 1911856 h 2041255"/>
              <a:gd name="connsiteX168" fmla="*/ 1550384 w 3810000"/>
              <a:gd name="connsiteY168" fmla="*/ 1885938 h 2041255"/>
              <a:gd name="connsiteX169" fmla="*/ 1520571 w 3810000"/>
              <a:gd name="connsiteY169" fmla="*/ 1859070 h 2041255"/>
              <a:gd name="connsiteX170" fmla="*/ 1471327 w 3810000"/>
              <a:gd name="connsiteY170" fmla="*/ 1859070 h 2041255"/>
              <a:gd name="connsiteX171" fmla="*/ 1471327 w 3810000"/>
              <a:gd name="connsiteY171" fmla="*/ 1945653 h 2041255"/>
              <a:gd name="connsiteX172" fmla="*/ 1471327 w 3810000"/>
              <a:gd name="connsiteY172" fmla="*/ 2001287 h 2041255"/>
              <a:gd name="connsiteX173" fmla="*/ 1527905 w 3810000"/>
              <a:gd name="connsiteY173" fmla="*/ 2001287 h 2041255"/>
              <a:gd name="connsiteX174" fmla="*/ 1556480 w 3810000"/>
              <a:gd name="connsiteY174" fmla="*/ 1974799 h 2041255"/>
              <a:gd name="connsiteX175" fmla="*/ 1527905 w 3810000"/>
              <a:gd name="connsiteY175" fmla="*/ 1945748 h 2041255"/>
              <a:gd name="connsiteX176" fmla="*/ 1471327 w 3810000"/>
              <a:gd name="connsiteY176" fmla="*/ 1945748 h 2041255"/>
              <a:gd name="connsiteX177" fmla="*/ 1819942 w 3810000"/>
              <a:gd name="connsiteY177" fmla="*/ 2038028 h 2041255"/>
              <a:gd name="connsiteX178" fmla="*/ 1660398 w 3810000"/>
              <a:gd name="connsiteY178" fmla="*/ 2038028 h 2041255"/>
              <a:gd name="connsiteX179" fmla="*/ 1660398 w 3810000"/>
              <a:gd name="connsiteY179" fmla="*/ 1822329 h 2041255"/>
              <a:gd name="connsiteX180" fmla="*/ 1703451 w 3810000"/>
              <a:gd name="connsiteY180" fmla="*/ 1822329 h 2041255"/>
              <a:gd name="connsiteX181" fmla="*/ 1703451 w 3810000"/>
              <a:gd name="connsiteY181" fmla="*/ 2001097 h 2041255"/>
              <a:gd name="connsiteX182" fmla="*/ 1819942 w 3810000"/>
              <a:gd name="connsiteY182" fmla="*/ 2001097 h 2041255"/>
              <a:gd name="connsiteX183" fmla="*/ 1819942 w 3810000"/>
              <a:gd name="connsiteY183" fmla="*/ 2038028 h 2041255"/>
              <a:gd name="connsiteX184" fmla="*/ 1869186 w 3810000"/>
              <a:gd name="connsiteY184" fmla="*/ 1822234 h 2041255"/>
              <a:gd name="connsiteX185" fmla="*/ 2023205 w 3810000"/>
              <a:gd name="connsiteY185" fmla="*/ 1822234 h 2041255"/>
              <a:gd name="connsiteX186" fmla="*/ 2023205 w 3810000"/>
              <a:gd name="connsiteY186" fmla="*/ 1859450 h 2041255"/>
              <a:gd name="connsiteX187" fmla="*/ 1912239 w 3810000"/>
              <a:gd name="connsiteY187" fmla="*/ 1859450 h 2041255"/>
              <a:gd name="connsiteX188" fmla="*/ 1912239 w 3810000"/>
              <a:gd name="connsiteY188" fmla="*/ 1909197 h 2041255"/>
              <a:gd name="connsiteX189" fmla="*/ 2008537 w 3810000"/>
              <a:gd name="connsiteY189" fmla="*/ 1909197 h 2041255"/>
              <a:gd name="connsiteX190" fmla="*/ 2008537 w 3810000"/>
              <a:gd name="connsiteY190" fmla="*/ 1946413 h 2041255"/>
              <a:gd name="connsiteX191" fmla="*/ 1912239 w 3810000"/>
              <a:gd name="connsiteY191" fmla="*/ 1946413 h 2041255"/>
              <a:gd name="connsiteX192" fmla="*/ 1912239 w 3810000"/>
              <a:gd name="connsiteY192" fmla="*/ 2001097 h 2041255"/>
              <a:gd name="connsiteX193" fmla="*/ 2025587 w 3810000"/>
              <a:gd name="connsiteY193" fmla="*/ 2001097 h 2041255"/>
              <a:gd name="connsiteX194" fmla="*/ 2025587 w 3810000"/>
              <a:gd name="connsiteY194" fmla="*/ 2038123 h 2041255"/>
              <a:gd name="connsiteX195" fmla="*/ 1869186 w 3810000"/>
              <a:gd name="connsiteY195" fmla="*/ 2038123 h 2041255"/>
              <a:gd name="connsiteX196" fmla="*/ 1869186 w 3810000"/>
              <a:gd name="connsiteY196" fmla="*/ 1822234 h 2041255"/>
              <a:gd name="connsiteX197" fmla="*/ 2195513 w 3810000"/>
              <a:gd name="connsiteY197" fmla="*/ 2038028 h 2041255"/>
              <a:gd name="connsiteX198" fmla="*/ 2195513 w 3810000"/>
              <a:gd name="connsiteY198" fmla="*/ 1822329 h 2041255"/>
              <a:gd name="connsiteX199" fmla="*/ 2234565 w 3810000"/>
              <a:gd name="connsiteY199" fmla="*/ 1822329 h 2041255"/>
              <a:gd name="connsiteX200" fmla="*/ 2354295 w 3810000"/>
              <a:gd name="connsiteY200" fmla="*/ 1970432 h 2041255"/>
              <a:gd name="connsiteX201" fmla="*/ 2354295 w 3810000"/>
              <a:gd name="connsiteY201" fmla="*/ 1822329 h 2041255"/>
              <a:gd name="connsiteX202" fmla="*/ 2397347 w 3810000"/>
              <a:gd name="connsiteY202" fmla="*/ 1822329 h 2041255"/>
              <a:gd name="connsiteX203" fmla="*/ 2397347 w 3810000"/>
              <a:gd name="connsiteY203" fmla="*/ 2038028 h 2041255"/>
              <a:gd name="connsiteX204" fmla="*/ 2357628 w 3810000"/>
              <a:gd name="connsiteY204" fmla="*/ 2038028 h 2041255"/>
              <a:gd name="connsiteX205" fmla="*/ 2238566 w 3810000"/>
              <a:gd name="connsiteY205" fmla="*/ 1891539 h 2041255"/>
              <a:gd name="connsiteX206" fmla="*/ 2238566 w 3810000"/>
              <a:gd name="connsiteY206" fmla="*/ 2038028 h 2041255"/>
              <a:gd name="connsiteX207" fmla="*/ 2195513 w 3810000"/>
              <a:gd name="connsiteY207" fmla="*/ 2038028 h 2041255"/>
              <a:gd name="connsiteX208" fmla="*/ 2455259 w 3810000"/>
              <a:gd name="connsiteY208" fmla="*/ 1930558 h 2041255"/>
              <a:gd name="connsiteX209" fmla="*/ 2568607 w 3810000"/>
              <a:gd name="connsiteY209" fmla="*/ 1819007 h 2041255"/>
              <a:gd name="connsiteX210" fmla="*/ 2682049 w 3810000"/>
              <a:gd name="connsiteY210" fmla="*/ 1930558 h 2041255"/>
              <a:gd name="connsiteX211" fmla="*/ 2568607 w 3810000"/>
              <a:gd name="connsiteY211" fmla="*/ 2041161 h 2041255"/>
              <a:gd name="connsiteX212" fmla="*/ 2455259 w 3810000"/>
              <a:gd name="connsiteY212" fmla="*/ 1930558 h 2041255"/>
              <a:gd name="connsiteX213" fmla="*/ 2568797 w 3810000"/>
              <a:gd name="connsiteY213" fmla="*/ 2001287 h 2041255"/>
              <a:gd name="connsiteX214" fmla="*/ 2637949 w 3810000"/>
              <a:gd name="connsiteY214" fmla="*/ 1930463 h 2041255"/>
              <a:gd name="connsiteX215" fmla="*/ 2568797 w 3810000"/>
              <a:gd name="connsiteY215" fmla="*/ 1859165 h 2041255"/>
              <a:gd name="connsiteX216" fmla="*/ 2499646 w 3810000"/>
              <a:gd name="connsiteY216" fmla="*/ 1930463 h 2041255"/>
              <a:gd name="connsiteX217" fmla="*/ 2568797 w 3810000"/>
              <a:gd name="connsiteY217" fmla="*/ 2001287 h 2041255"/>
              <a:gd name="connsiteX218" fmla="*/ 2852261 w 3810000"/>
              <a:gd name="connsiteY218" fmla="*/ 1822234 h 2041255"/>
              <a:gd name="connsiteX219" fmla="*/ 2897886 w 3810000"/>
              <a:gd name="connsiteY219" fmla="*/ 1822234 h 2041255"/>
              <a:gd name="connsiteX220" fmla="*/ 2967704 w 3810000"/>
              <a:gd name="connsiteY220" fmla="*/ 1965875 h 2041255"/>
              <a:gd name="connsiteX221" fmla="*/ 3037332 w 3810000"/>
              <a:gd name="connsiteY221" fmla="*/ 1822234 h 2041255"/>
              <a:gd name="connsiteX222" fmla="*/ 3082957 w 3810000"/>
              <a:gd name="connsiteY222" fmla="*/ 1822234 h 2041255"/>
              <a:gd name="connsiteX223" fmla="*/ 3082957 w 3810000"/>
              <a:gd name="connsiteY223" fmla="*/ 2037933 h 2041255"/>
              <a:gd name="connsiteX224" fmla="*/ 3039904 w 3810000"/>
              <a:gd name="connsiteY224" fmla="*/ 2037933 h 2041255"/>
              <a:gd name="connsiteX225" fmla="*/ 3039904 w 3810000"/>
              <a:gd name="connsiteY225" fmla="*/ 1905590 h 2041255"/>
              <a:gd name="connsiteX226" fmla="*/ 2981611 w 3810000"/>
              <a:gd name="connsiteY226" fmla="*/ 2023502 h 2041255"/>
              <a:gd name="connsiteX227" fmla="*/ 2953703 w 3810000"/>
              <a:gd name="connsiteY227" fmla="*/ 2023502 h 2041255"/>
              <a:gd name="connsiteX228" fmla="*/ 2895410 w 3810000"/>
              <a:gd name="connsiteY228" fmla="*/ 1905590 h 2041255"/>
              <a:gd name="connsiteX229" fmla="*/ 2895410 w 3810000"/>
              <a:gd name="connsiteY229" fmla="*/ 2037933 h 2041255"/>
              <a:gd name="connsiteX230" fmla="*/ 2852357 w 3810000"/>
              <a:gd name="connsiteY230" fmla="*/ 2037933 h 2041255"/>
              <a:gd name="connsiteX231" fmla="*/ 2852357 w 3810000"/>
              <a:gd name="connsiteY231" fmla="*/ 1822234 h 2041255"/>
              <a:gd name="connsiteX232" fmla="*/ 3140869 w 3810000"/>
              <a:gd name="connsiteY232" fmla="*/ 1930558 h 2041255"/>
              <a:gd name="connsiteX233" fmla="*/ 3254216 w 3810000"/>
              <a:gd name="connsiteY233" fmla="*/ 1819007 h 2041255"/>
              <a:gd name="connsiteX234" fmla="*/ 3367659 w 3810000"/>
              <a:gd name="connsiteY234" fmla="*/ 1930558 h 2041255"/>
              <a:gd name="connsiteX235" fmla="*/ 3254216 w 3810000"/>
              <a:gd name="connsiteY235" fmla="*/ 2041161 h 2041255"/>
              <a:gd name="connsiteX236" fmla="*/ 3140869 w 3810000"/>
              <a:gd name="connsiteY236" fmla="*/ 1930558 h 2041255"/>
              <a:gd name="connsiteX237" fmla="*/ 3254312 w 3810000"/>
              <a:gd name="connsiteY237" fmla="*/ 2001287 h 2041255"/>
              <a:gd name="connsiteX238" fmla="*/ 3323463 w 3810000"/>
              <a:gd name="connsiteY238" fmla="*/ 1930463 h 2041255"/>
              <a:gd name="connsiteX239" fmla="*/ 3254312 w 3810000"/>
              <a:gd name="connsiteY239" fmla="*/ 1859165 h 2041255"/>
              <a:gd name="connsiteX240" fmla="*/ 3185160 w 3810000"/>
              <a:gd name="connsiteY240" fmla="*/ 1930463 h 2041255"/>
              <a:gd name="connsiteX241" fmla="*/ 3254312 w 3810000"/>
              <a:gd name="connsiteY241" fmla="*/ 2001287 h 2041255"/>
              <a:gd name="connsiteX242" fmla="*/ 3419094 w 3810000"/>
              <a:gd name="connsiteY242" fmla="*/ 2037838 h 2041255"/>
              <a:gd name="connsiteX243" fmla="*/ 3419094 w 3810000"/>
              <a:gd name="connsiteY243" fmla="*/ 1822234 h 2041255"/>
              <a:gd name="connsiteX244" fmla="*/ 3514535 w 3810000"/>
              <a:gd name="connsiteY244" fmla="*/ 1822234 h 2041255"/>
              <a:gd name="connsiteX245" fmla="*/ 3591973 w 3810000"/>
              <a:gd name="connsiteY245" fmla="*/ 1891539 h 2041255"/>
              <a:gd name="connsiteX246" fmla="*/ 3551682 w 3810000"/>
              <a:gd name="connsiteY246" fmla="*/ 1952394 h 2041255"/>
              <a:gd name="connsiteX247" fmla="*/ 3600641 w 3810000"/>
              <a:gd name="connsiteY247" fmla="*/ 2038028 h 2041255"/>
              <a:gd name="connsiteX248" fmla="*/ 3553492 w 3810000"/>
              <a:gd name="connsiteY248" fmla="*/ 2038028 h 2041255"/>
              <a:gd name="connsiteX249" fmla="*/ 3509296 w 3810000"/>
              <a:gd name="connsiteY249" fmla="*/ 1959514 h 2041255"/>
              <a:gd name="connsiteX250" fmla="*/ 3462242 w 3810000"/>
              <a:gd name="connsiteY250" fmla="*/ 1959514 h 2041255"/>
              <a:gd name="connsiteX251" fmla="*/ 3462242 w 3810000"/>
              <a:gd name="connsiteY251" fmla="*/ 2037838 h 2041255"/>
              <a:gd name="connsiteX252" fmla="*/ 3419094 w 3810000"/>
              <a:gd name="connsiteY252" fmla="*/ 2037838 h 2041255"/>
              <a:gd name="connsiteX253" fmla="*/ 3462242 w 3810000"/>
              <a:gd name="connsiteY253" fmla="*/ 1922299 h 2041255"/>
              <a:gd name="connsiteX254" fmla="*/ 3511772 w 3810000"/>
              <a:gd name="connsiteY254" fmla="*/ 1922299 h 2041255"/>
              <a:gd name="connsiteX255" fmla="*/ 3547777 w 3810000"/>
              <a:gd name="connsiteY255" fmla="*/ 1891444 h 2041255"/>
              <a:gd name="connsiteX256" fmla="*/ 3511772 w 3810000"/>
              <a:gd name="connsiteY256" fmla="*/ 1859355 h 2041255"/>
              <a:gd name="connsiteX257" fmla="*/ 3462242 w 3810000"/>
              <a:gd name="connsiteY257" fmla="*/ 1859355 h 2041255"/>
              <a:gd name="connsiteX258" fmla="*/ 3462242 w 3810000"/>
              <a:gd name="connsiteY258" fmla="*/ 1922299 h 2041255"/>
              <a:gd name="connsiteX259" fmla="*/ 3653599 w 3810000"/>
              <a:gd name="connsiteY259" fmla="*/ 1822234 h 2041255"/>
              <a:gd name="connsiteX260" fmla="*/ 3807619 w 3810000"/>
              <a:gd name="connsiteY260" fmla="*/ 1822234 h 2041255"/>
              <a:gd name="connsiteX261" fmla="*/ 3807619 w 3810000"/>
              <a:gd name="connsiteY261" fmla="*/ 1859450 h 2041255"/>
              <a:gd name="connsiteX262" fmla="*/ 3696653 w 3810000"/>
              <a:gd name="connsiteY262" fmla="*/ 1859450 h 2041255"/>
              <a:gd name="connsiteX263" fmla="*/ 3696653 w 3810000"/>
              <a:gd name="connsiteY263" fmla="*/ 1909197 h 2041255"/>
              <a:gd name="connsiteX264" fmla="*/ 3792950 w 3810000"/>
              <a:gd name="connsiteY264" fmla="*/ 1909197 h 2041255"/>
              <a:gd name="connsiteX265" fmla="*/ 3792950 w 3810000"/>
              <a:gd name="connsiteY265" fmla="*/ 1946413 h 2041255"/>
              <a:gd name="connsiteX266" fmla="*/ 3696653 w 3810000"/>
              <a:gd name="connsiteY266" fmla="*/ 1946413 h 2041255"/>
              <a:gd name="connsiteX267" fmla="*/ 3696653 w 3810000"/>
              <a:gd name="connsiteY267" fmla="*/ 2001097 h 2041255"/>
              <a:gd name="connsiteX268" fmla="*/ 3810000 w 3810000"/>
              <a:gd name="connsiteY268" fmla="*/ 2001097 h 2041255"/>
              <a:gd name="connsiteX269" fmla="*/ 3810000 w 3810000"/>
              <a:gd name="connsiteY269" fmla="*/ 2038123 h 2041255"/>
              <a:gd name="connsiteX270" fmla="*/ 3653599 w 3810000"/>
              <a:gd name="connsiteY270" fmla="*/ 2038123 h 2041255"/>
              <a:gd name="connsiteX271" fmla="*/ 3653599 w 3810000"/>
              <a:gd name="connsiteY271" fmla="*/ 1822234 h 2041255"/>
              <a:gd name="connsiteX272" fmla="*/ 2320290 w 3810000"/>
              <a:gd name="connsiteY272" fmla="*/ 0 h 2041255"/>
              <a:gd name="connsiteX273" fmla="*/ 1489710 w 3810000"/>
              <a:gd name="connsiteY273" fmla="*/ 0 h 2041255"/>
              <a:gd name="connsiteX274" fmla="*/ 1489710 w 3810000"/>
              <a:gd name="connsiteY274" fmla="*/ 588614 h 2041255"/>
              <a:gd name="connsiteX275" fmla="*/ 2320290 w 3810000"/>
              <a:gd name="connsiteY275" fmla="*/ 588614 h 2041255"/>
              <a:gd name="connsiteX276" fmla="*/ 2320290 w 3810000"/>
              <a:gd name="connsiteY276" fmla="*/ 0 h 2041255"/>
              <a:gd name="connsiteX277" fmla="*/ 2248567 w 3810000"/>
              <a:gd name="connsiteY277" fmla="*/ 253579 h 2041255"/>
              <a:gd name="connsiteX278" fmla="*/ 1959864 w 3810000"/>
              <a:gd name="connsiteY278" fmla="*/ 253579 h 2041255"/>
              <a:gd name="connsiteX279" fmla="*/ 1959864 w 3810000"/>
              <a:gd name="connsiteY279" fmla="*/ 318611 h 2041255"/>
              <a:gd name="connsiteX280" fmla="*/ 2248567 w 3810000"/>
              <a:gd name="connsiteY280" fmla="*/ 318611 h 2041255"/>
              <a:gd name="connsiteX281" fmla="*/ 2248567 w 3810000"/>
              <a:gd name="connsiteY281" fmla="*/ 524056 h 2041255"/>
              <a:gd name="connsiteX282" fmla="*/ 1561433 w 3810000"/>
              <a:gd name="connsiteY282" fmla="*/ 524056 h 2041255"/>
              <a:gd name="connsiteX283" fmla="*/ 1561433 w 3810000"/>
              <a:gd name="connsiteY283" fmla="*/ 318611 h 2041255"/>
              <a:gd name="connsiteX284" fmla="*/ 1850136 w 3810000"/>
              <a:gd name="connsiteY284" fmla="*/ 318611 h 2041255"/>
              <a:gd name="connsiteX285" fmla="*/ 1850136 w 3810000"/>
              <a:gd name="connsiteY285" fmla="*/ 253579 h 2041255"/>
              <a:gd name="connsiteX286" fmla="*/ 1561433 w 3810000"/>
              <a:gd name="connsiteY286" fmla="*/ 253579 h 2041255"/>
              <a:gd name="connsiteX287" fmla="*/ 1561433 w 3810000"/>
              <a:gd name="connsiteY287" fmla="*/ 65032 h 2041255"/>
              <a:gd name="connsiteX288" fmla="*/ 2248567 w 3810000"/>
              <a:gd name="connsiteY288" fmla="*/ 65032 h 2041255"/>
              <a:gd name="connsiteX289" fmla="*/ 2248567 w 3810000"/>
              <a:gd name="connsiteY289" fmla="*/ 253579 h 204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3810000" h="2041255">
                <a:moveTo>
                  <a:pt x="320516" y="1337577"/>
                </a:moveTo>
                <a:cubicBezTo>
                  <a:pt x="400526" y="1316311"/>
                  <a:pt x="449675" y="1256121"/>
                  <a:pt x="449675" y="1171531"/>
                </a:cubicBezTo>
                <a:cubicBezTo>
                  <a:pt x="449675" y="1064062"/>
                  <a:pt x="371856" y="996846"/>
                  <a:pt x="252222" y="996846"/>
                </a:cubicBezTo>
                <a:lnTo>
                  <a:pt x="0" y="996846"/>
                </a:lnTo>
                <a:lnTo>
                  <a:pt x="0" y="1585460"/>
                </a:lnTo>
                <a:lnTo>
                  <a:pt x="71723" y="1585460"/>
                </a:lnTo>
                <a:lnTo>
                  <a:pt x="71723" y="1346217"/>
                </a:lnTo>
                <a:lnTo>
                  <a:pt x="243078" y="1346217"/>
                </a:lnTo>
                <a:lnTo>
                  <a:pt x="381857" y="1585460"/>
                </a:lnTo>
                <a:lnTo>
                  <a:pt x="466630" y="1585460"/>
                </a:lnTo>
                <a:lnTo>
                  <a:pt x="320516" y="1337577"/>
                </a:lnTo>
                <a:close/>
                <a:moveTo>
                  <a:pt x="71723" y="1282513"/>
                </a:moveTo>
                <a:lnTo>
                  <a:pt x="71723" y="1061878"/>
                </a:lnTo>
                <a:lnTo>
                  <a:pt x="249555" y="1061878"/>
                </a:lnTo>
                <a:cubicBezTo>
                  <a:pt x="332137" y="1061878"/>
                  <a:pt x="374809" y="1103936"/>
                  <a:pt x="374809" y="1171531"/>
                </a:cubicBezTo>
                <a:cubicBezTo>
                  <a:pt x="374809" y="1238272"/>
                  <a:pt x="332232" y="1282513"/>
                  <a:pt x="249555" y="1282513"/>
                </a:cubicBezTo>
                <a:lnTo>
                  <a:pt x="71723" y="1282513"/>
                </a:lnTo>
                <a:close/>
                <a:moveTo>
                  <a:pt x="2064925" y="996846"/>
                </a:moveTo>
                <a:lnTo>
                  <a:pt x="2138458" y="996846"/>
                </a:lnTo>
                <a:lnTo>
                  <a:pt x="1963674" y="1585460"/>
                </a:lnTo>
                <a:lnTo>
                  <a:pt x="1858899" y="1585460"/>
                </a:lnTo>
                <a:lnTo>
                  <a:pt x="1711928" y="1106119"/>
                </a:lnTo>
                <a:lnTo>
                  <a:pt x="1564862" y="1585460"/>
                </a:lnTo>
                <a:lnTo>
                  <a:pt x="1460087" y="1585460"/>
                </a:lnTo>
                <a:lnTo>
                  <a:pt x="1285304" y="996846"/>
                </a:lnTo>
                <a:lnTo>
                  <a:pt x="1358837" y="996846"/>
                </a:lnTo>
                <a:lnTo>
                  <a:pt x="1513618" y="1512168"/>
                </a:lnTo>
                <a:lnTo>
                  <a:pt x="1673638" y="1001593"/>
                </a:lnTo>
                <a:lnTo>
                  <a:pt x="1750219" y="1001593"/>
                </a:lnTo>
                <a:lnTo>
                  <a:pt x="1910239" y="1512168"/>
                </a:lnTo>
                <a:lnTo>
                  <a:pt x="2064925" y="996846"/>
                </a:lnTo>
                <a:close/>
                <a:moveTo>
                  <a:pt x="2366772" y="996846"/>
                </a:moveTo>
                <a:lnTo>
                  <a:pt x="2438495" y="996846"/>
                </a:lnTo>
                <a:lnTo>
                  <a:pt x="2438495" y="1585460"/>
                </a:lnTo>
                <a:lnTo>
                  <a:pt x="2366772" y="1585460"/>
                </a:lnTo>
                <a:lnTo>
                  <a:pt x="2366772" y="996846"/>
                </a:lnTo>
                <a:close/>
                <a:moveTo>
                  <a:pt x="1098042" y="1585460"/>
                </a:moveTo>
                <a:lnTo>
                  <a:pt x="682752" y="1585460"/>
                </a:lnTo>
                <a:lnTo>
                  <a:pt x="682752" y="996846"/>
                </a:lnTo>
                <a:lnTo>
                  <a:pt x="1088898" y="996846"/>
                </a:lnTo>
                <a:lnTo>
                  <a:pt x="1088898" y="1061878"/>
                </a:lnTo>
                <a:lnTo>
                  <a:pt x="754475" y="1061878"/>
                </a:lnTo>
                <a:lnTo>
                  <a:pt x="754475" y="1250425"/>
                </a:lnTo>
                <a:lnTo>
                  <a:pt x="1043178" y="1250425"/>
                </a:lnTo>
                <a:lnTo>
                  <a:pt x="1043178" y="1315457"/>
                </a:lnTo>
                <a:lnTo>
                  <a:pt x="754475" y="1315457"/>
                </a:lnTo>
                <a:lnTo>
                  <a:pt x="754475" y="1520902"/>
                </a:lnTo>
                <a:lnTo>
                  <a:pt x="1098042" y="1520902"/>
                </a:lnTo>
                <a:lnTo>
                  <a:pt x="1098042" y="1585460"/>
                </a:lnTo>
                <a:close/>
                <a:moveTo>
                  <a:pt x="3032474" y="1337577"/>
                </a:moveTo>
                <a:cubicBezTo>
                  <a:pt x="3112484" y="1316311"/>
                  <a:pt x="3161633" y="1256121"/>
                  <a:pt x="3161633" y="1171531"/>
                </a:cubicBezTo>
                <a:cubicBezTo>
                  <a:pt x="3161633" y="1064062"/>
                  <a:pt x="3083814" y="996846"/>
                  <a:pt x="2964180" y="996846"/>
                </a:cubicBezTo>
                <a:lnTo>
                  <a:pt x="2711958" y="996846"/>
                </a:lnTo>
                <a:lnTo>
                  <a:pt x="2711958" y="1585460"/>
                </a:lnTo>
                <a:lnTo>
                  <a:pt x="2783681" y="1585460"/>
                </a:lnTo>
                <a:lnTo>
                  <a:pt x="2783681" y="1346217"/>
                </a:lnTo>
                <a:lnTo>
                  <a:pt x="2955036" y="1346217"/>
                </a:lnTo>
                <a:lnTo>
                  <a:pt x="3093720" y="1585460"/>
                </a:lnTo>
                <a:lnTo>
                  <a:pt x="3178493" y="1585460"/>
                </a:lnTo>
                <a:lnTo>
                  <a:pt x="3032474" y="1337577"/>
                </a:lnTo>
                <a:close/>
                <a:moveTo>
                  <a:pt x="2783777" y="1282513"/>
                </a:moveTo>
                <a:lnTo>
                  <a:pt x="2783777" y="1061878"/>
                </a:lnTo>
                <a:lnTo>
                  <a:pt x="2961608" y="1061878"/>
                </a:lnTo>
                <a:cubicBezTo>
                  <a:pt x="3044190" y="1061878"/>
                  <a:pt x="3086862" y="1103936"/>
                  <a:pt x="3086862" y="1171531"/>
                </a:cubicBezTo>
                <a:cubicBezTo>
                  <a:pt x="3086862" y="1238272"/>
                  <a:pt x="3044285" y="1282513"/>
                  <a:pt x="2961608" y="1282513"/>
                </a:cubicBezTo>
                <a:lnTo>
                  <a:pt x="2783777" y="1282513"/>
                </a:lnTo>
                <a:close/>
                <a:moveTo>
                  <a:pt x="3810000" y="996846"/>
                </a:moveTo>
                <a:lnTo>
                  <a:pt x="3810000" y="1585460"/>
                </a:lnTo>
                <a:lnTo>
                  <a:pt x="3394710" y="1585460"/>
                </a:lnTo>
                <a:lnTo>
                  <a:pt x="3394710" y="1520902"/>
                </a:lnTo>
                <a:lnTo>
                  <a:pt x="3738277" y="1520902"/>
                </a:lnTo>
                <a:lnTo>
                  <a:pt x="3738277" y="1315457"/>
                </a:lnTo>
                <a:lnTo>
                  <a:pt x="3449574" y="1315457"/>
                </a:lnTo>
                <a:lnTo>
                  <a:pt x="3449574" y="1250425"/>
                </a:lnTo>
                <a:lnTo>
                  <a:pt x="3738277" y="1250425"/>
                </a:lnTo>
                <a:lnTo>
                  <a:pt x="3738277" y="1061878"/>
                </a:lnTo>
                <a:lnTo>
                  <a:pt x="3403854" y="1061878"/>
                </a:lnTo>
                <a:lnTo>
                  <a:pt x="3403854" y="996846"/>
                </a:lnTo>
                <a:lnTo>
                  <a:pt x="3810000" y="996846"/>
                </a:lnTo>
                <a:close/>
                <a:moveTo>
                  <a:pt x="43053" y="2038028"/>
                </a:moveTo>
                <a:lnTo>
                  <a:pt x="0" y="2038028"/>
                </a:lnTo>
                <a:lnTo>
                  <a:pt x="0" y="1822329"/>
                </a:lnTo>
                <a:lnTo>
                  <a:pt x="43053" y="1822329"/>
                </a:lnTo>
                <a:lnTo>
                  <a:pt x="43053" y="2038028"/>
                </a:lnTo>
                <a:close/>
                <a:moveTo>
                  <a:pt x="115062" y="1822234"/>
                </a:moveTo>
                <a:lnTo>
                  <a:pt x="160687" y="1822234"/>
                </a:lnTo>
                <a:lnTo>
                  <a:pt x="230505" y="1965875"/>
                </a:lnTo>
                <a:lnTo>
                  <a:pt x="300133" y="1822234"/>
                </a:lnTo>
                <a:lnTo>
                  <a:pt x="345758" y="1822234"/>
                </a:lnTo>
                <a:lnTo>
                  <a:pt x="345758" y="2037933"/>
                </a:lnTo>
                <a:lnTo>
                  <a:pt x="302705" y="2037933"/>
                </a:lnTo>
                <a:lnTo>
                  <a:pt x="302705" y="1905590"/>
                </a:lnTo>
                <a:lnTo>
                  <a:pt x="244412" y="2023502"/>
                </a:lnTo>
                <a:lnTo>
                  <a:pt x="216503" y="2023502"/>
                </a:lnTo>
                <a:lnTo>
                  <a:pt x="158210" y="1905590"/>
                </a:lnTo>
                <a:lnTo>
                  <a:pt x="158210" y="2037933"/>
                </a:lnTo>
                <a:lnTo>
                  <a:pt x="115157" y="2037933"/>
                </a:lnTo>
                <a:lnTo>
                  <a:pt x="115157" y="1822234"/>
                </a:lnTo>
                <a:close/>
                <a:moveTo>
                  <a:pt x="411099" y="2037838"/>
                </a:moveTo>
                <a:lnTo>
                  <a:pt x="411099" y="1822234"/>
                </a:lnTo>
                <a:lnTo>
                  <a:pt x="505778" y="1822234"/>
                </a:lnTo>
                <a:cubicBezTo>
                  <a:pt x="552831" y="1822234"/>
                  <a:pt x="583216" y="1851001"/>
                  <a:pt x="583216" y="1893438"/>
                </a:cubicBezTo>
                <a:cubicBezTo>
                  <a:pt x="583216" y="1934071"/>
                  <a:pt x="552736" y="1963787"/>
                  <a:pt x="505778" y="1963787"/>
                </a:cubicBezTo>
                <a:lnTo>
                  <a:pt x="454342" y="1963787"/>
                </a:lnTo>
                <a:lnTo>
                  <a:pt x="454342" y="2037838"/>
                </a:lnTo>
                <a:lnTo>
                  <a:pt x="411099" y="2037838"/>
                </a:lnTo>
                <a:close/>
                <a:moveTo>
                  <a:pt x="454342" y="1926571"/>
                </a:moveTo>
                <a:lnTo>
                  <a:pt x="503111" y="1926571"/>
                </a:lnTo>
                <a:cubicBezTo>
                  <a:pt x="526828" y="1926571"/>
                  <a:pt x="539115" y="1911761"/>
                  <a:pt x="539115" y="1893343"/>
                </a:cubicBezTo>
                <a:cubicBezTo>
                  <a:pt x="539115" y="1873785"/>
                  <a:pt x="526828" y="1859355"/>
                  <a:pt x="503111" y="1859355"/>
                </a:cubicBezTo>
                <a:lnTo>
                  <a:pt x="454342" y="1859355"/>
                </a:lnTo>
                <a:lnTo>
                  <a:pt x="454342" y="1926571"/>
                </a:lnTo>
                <a:close/>
                <a:moveTo>
                  <a:pt x="621983" y="1930558"/>
                </a:moveTo>
                <a:cubicBezTo>
                  <a:pt x="621983" y="1865241"/>
                  <a:pt x="669798" y="1819007"/>
                  <a:pt x="735330" y="1819007"/>
                </a:cubicBezTo>
                <a:cubicBezTo>
                  <a:pt x="801148" y="1819007"/>
                  <a:pt x="848773" y="1865431"/>
                  <a:pt x="848773" y="1930558"/>
                </a:cubicBezTo>
                <a:cubicBezTo>
                  <a:pt x="848773" y="1995686"/>
                  <a:pt x="801148" y="2041161"/>
                  <a:pt x="735330" y="2041161"/>
                </a:cubicBezTo>
                <a:cubicBezTo>
                  <a:pt x="669798" y="2041161"/>
                  <a:pt x="621983" y="1995686"/>
                  <a:pt x="621983" y="1930558"/>
                </a:cubicBezTo>
                <a:close/>
                <a:moveTo>
                  <a:pt x="735425" y="2001287"/>
                </a:moveTo>
                <a:cubicBezTo>
                  <a:pt x="775907" y="2001287"/>
                  <a:pt x="804577" y="1972711"/>
                  <a:pt x="804577" y="1930463"/>
                </a:cubicBezTo>
                <a:cubicBezTo>
                  <a:pt x="804577" y="1888501"/>
                  <a:pt x="775907" y="1859165"/>
                  <a:pt x="735425" y="1859165"/>
                </a:cubicBezTo>
                <a:cubicBezTo>
                  <a:pt x="695230" y="1859165"/>
                  <a:pt x="666274" y="1888596"/>
                  <a:pt x="666274" y="1930463"/>
                </a:cubicBezTo>
                <a:cubicBezTo>
                  <a:pt x="666274" y="1972711"/>
                  <a:pt x="695420" y="2001287"/>
                  <a:pt x="735425" y="2001287"/>
                </a:cubicBezTo>
                <a:close/>
                <a:moveTo>
                  <a:pt x="918496" y="1967299"/>
                </a:moveTo>
                <a:cubicBezTo>
                  <a:pt x="928688" y="1988091"/>
                  <a:pt x="948118" y="2002426"/>
                  <a:pt x="974122" y="2002426"/>
                </a:cubicBezTo>
                <a:cubicBezTo>
                  <a:pt x="994886" y="2002426"/>
                  <a:pt x="1011269" y="1992458"/>
                  <a:pt x="1011269" y="1978407"/>
                </a:cubicBezTo>
                <a:cubicBezTo>
                  <a:pt x="1011269" y="1964071"/>
                  <a:pt x="995172" y="1956476"/>
                  <a:pt x="969359" y="1948407"/>
                </a:cubicBezTo>
                <a:cubicBezTo>
                  <a:pt x="927735" y="1935400"/>
                  <a:pt x="893826" y="1922679"/>
                  <a:pt x="893826" y="1881001"/>
                </a:cubicBezTo>
                <a:cubicBezTo>
                  <a:pt x="893826" y="1840368"/>
                  <a:pt x="933831" y="1819007"/>
                  <a:pt x="970502" y="1819007"/>
                </a:cubicBezTo>
                <a:cubicBezTo>
                  <a:pt x="1009745" y="1819007"/>
                  <a:pt x="1036796" y="1841886"/>
                  <a:pt x="1050512" y="1865906"/>
                </a:cubicBezTo>
                <a:lnTo>
                  <a:pt x="1017365" y="1889450"/>
                </a:lnTo>
                <a:cubicBezTo>
                  <a:pt x="1007936" y="1873691"/>
                  <a:pt x="992314" y="1857836"/>
                  <a:pt x="969359" y="1857836"/>
                </a:cubicBezTo>
                <a:cubicBezTo>
                  <a:pt x="952595" y="1857836"/>
                  <a:pt x="937832" y="1866760"/>
                  <a:pt x="937832" y="1880906"/>
                </a:cubicBezTo>
                <a:cubicBezTo>
                  <a:pt x="937832" y="1898185"/>
                  <a:pt x="953643" y="1900748"/>
                  <a:pt x="980694" y="1910337"/>
                </a:cubicBezTo>
                <a:cubicBezTo>
                  <a:pt x="1021366" y="1924672"/>
                  <a:pt x="1055084" y="1935590"/>
                  <a:pt x="1055084" y="1978217"/>
                </a:cubicBezTo>
                <a:cubicBezTo>
                  <a:pt x="1055084" y="2020464"/>
                  <a:pt x="1012222" y="2041256"/>
                  <a:pt x="973646" y="2041256"/>
                </a:cubicBezTo>
                <a:cubicBezTo>
                  <a:pt x="931926" y="2041256"/>
                  <a:pt x="899732" y="2019515"/>
                  <a:pt x="886778" y="1990274"/>
                </a:cubicBezTo>
                <a:lnTo>
                  <a:pt x="918496" y="1967299"/>
                </a:lnTo>
                <a:close/>
                <a:moveTo>
                  <a:pt x="1124998" y="1967299"/>
                </a:moveTo>
                <a:cubicBezTo>
                  <a:pt x="1135189" y="1988091"/>
                  <a:pt x="1154621" y="2002426"/>
                  <a:pt x="1180624" y="2002426"/>
                </a:cubicBezTo>
                <a:cubicBezTo>
                  <a:pt x="1201388" y="2002426"/>
                  <a:pt x="1217771" y="1992458"/>
                  <a:pt x="1217771" y="1978407"/>
                </a:cubicBezTo>
                <a:cubicBezTo>
                  <a:pt x="1217771" y="1964071"/>
                  <a:pt x="1201674" y="1956476"/>
                  <a:pt x="1175861" y="1948407"/>
                </a:cubicBezTo>
                <a:cubicBezTo>
                  <a:pt x="1134237" y="1935400"/>
                  <a:pt x="1100328" y="1922679"/>
                  <a:pt x="1100328" y="1881001"/>
                </a:cubicBezTo>
                <a:cubicBezTo>
                  <a:pt x="1100328" y="1840368"/>
                  <a:pt x="1140333" y="1819007"/>
                  <a:pt x="1177004" y="1819007"/>
                </a:cubicBezTo>
                <a:cubicBezTo>
                  <a:pt x="1216247" y="1819007"/>
                  <a:pt x="1243298" y="1841886"/>
                  <a:pt x="1257014" y="1865906"/>
                </a:cubicBezTo>
                <a:lnTo>
                  <a:pt x="1223867" y="1889450"/>
                </a:lnTo>
                <a:cubicBezTo>
                  <a:pt x="1214438" y="1873691"/>
                  <a:pt x="1198817" y="1857836"/>
                  <a:pt x="1175861" y="1857836"/>
                </a:cubicBezTo>
                <a:cubicBezTo>
                  <a:pt x="1159097" y="1857836"/>
                  <a:pt x="1144334" y="1866760"/>
                  <a:pt x="1144334" y="1880906"/>
                </a:cubicBezTo>
                <a:cubicBezTo>
                  <a:pt x="1144334" y="1898185"/>
                  <a:pt x="1160145" y="1900748"/>
                  <a:pt x="1187196" y="1910337"/>
                </a:cubicBezTo>
                <a:cubicBezTo>
                  <a:pt x="1227868" y="1924672"/>
                  <a:pt x="1261586" y="1935590"/>
                  <a:pt x="1261586" y="1978217"/>
                </a:cubicBezTo>
                <a:cubicBezTo>
                  <a:pt x="1261586" y="2020464"/>
                  <a:pt x="1218724" y="2041256"/>
                  <a:pt x="1180148" y="2041256"/>
                </a:cubicBezTo>
                <a:cubicBezTo>
                  <a:pt x="1138428" y="2041256"/>
                  <a:pt x="1106234" y="2019515"/>
                  <a:pt x="1093280" y="1990274"/>
                </a:cubicBezTo>
                <a:lnTo>
                  <a:pt x="1124998" y="1967299"/>
                </a:lnTo>
                <a:close/>
                <a:moveTo>
                  <a:pt x="1362837" y="2038028"/>
                </a:moveTo>
                <a:lnTo>
                  <a:pt x="1319784" y="2038028"/>
                </a:lnTo>
                <a:lnTo>
                  <a:pt x="1319784" y="1822329"/>
                </a:lnTo>
                <a:lnTo>
                  <a:pt x="1362837" y="1822329"/>
                </a:lnTo>
                <a:lnTo>
                  <a:pt x="1362837" y="2038028"/>
                </a:lnTo>
                <a:close/>
                <a:moveTo>
                  <a:pt x="1428274" y="1822234"/>
                </a:moveTo>
                <a:lnTo>
                  <a:pt x="1527905" y="1822234"/>
                </a:lnTo>
                <a:cubicBezTo>
                  <a:pt x="1566767" y="1822234"/>
                  <a:pt x="1594866" y="1846254"/>
                  <a:pt x="1594866" y="1881191"/>
                </a:cubicBezTo>
                <a:cubicBezTo>
                  <a:pt x="1594866" y="1895621"/>
                  <a:pt x="1586865" y="1917932"/>
                  <a:pt x="1565815" y="1925811"/>
                </a:cubicBezTo>
                <a:cubicBezTo>
                  <a:pt x="1589913" y="1934831"/>
                  <a:pt x="1602200" y="1955337"/>
                  <a:pt x="1602200" y="1978122"/>
                </a:cubicBezTo>
                <a:cubicBezTo>
                  <a:pt x="1602200" y="2013344"/>
                  <a:pt x="1574959" y="2038028"/>
                  <a:pt x="1534954" y="2038028"/>
                </a:cubicBezTo>
                <a:lnTo>
                  <a:pt x="1428274" y="2038028"/>
                </a:lnTo>
                <a:lnTo>
                  <a:pt x="1428274" y="1822234"/>
                </a:lnTo>
                <a:close/>
                <a:moveTo>
                  <a:pt x="1471327" y="1859070"/>
                </a:moveTo>
                <a:lnTo>
                  <a:pt x="1471327" y="1911856"/>
                </a:lnTo>
                <a:lnTo>
                  <a:pt x="1522190" y="1911856"/>
                </a:lnTo>
                <a:cubicBezTo>
                  <a:pt x="1539907" y="1911856"/>
                  <a:pt x="1550384" y="1900748"/>
                  <a:pt x="1550384" y="1885938"/>
                </a:cubicBezTo>
                <a:cubicBezTo>
                  <a:pt x="1550384" y="1868944"/>
                  <a:pt x="1537621" y="1859070"/>
                  <a:pt x="1520571" y="1859070"/>
                </a:cubicBezTo>
                <a:lnTo>
                  <a:pt x="1471327" y="1859070"/>
                </a:lnTo>
                <a:close/>
                <a:moveTo>
                  <a:pt x="1471327" y="1945653"/>
                </a:moveTo>
                <a:lnTo>
                  <a:pt x="1471327" y="2001287"/>
                </a:lnTo>
                <a:lnTo>
                  <a:pt x="1527905" y="2001287"/>
                </a:lnTo>
                <a:cubicBezTo>
                  <a:pt x="1545146" y="2001287"/>
                  <a:pt x="1556480" y="1990369"/>
                  <a:pt x="1556480" y="1974799"/>
                </a:cubicBezTo>
                <a:cubicBezTo>
                  <a:pt x="1556480" y="1957046"/>
                  <a:pt x="1545336" y="1945748"/>
                  <a:pt x="1527905" y="1945748"/>
                </a:cubicBezTo>
                <a:lnTo>
                  <a:pt x="1471327" y="1945748"/>
                </a:lnTo>
                <a:close/>
                <a:moveTo>
                  <a:pt x="1819942" y="2038028"/>
                </a:moveTo>
                <a:lnTo>
                  <a:pt x="1660398" y="2038028"/>
                </a:lnTo>
                <a:lnTo>
                  <a:pt x="1660398" y="1822329"/>
                </a:lnTo>
                <a:lnTo>
                  <a:pt x="1703451" y="1822329"/>
                </a:lnTo>
                <a:lnTo>
                  <a:pt x="1703451" y="2001097"/>
                </a:lnTo>
                <a:lnTo>
                  <a:pt x="1819942" y="2001097"/>
                </a:lnTo>
                <a:lnTo>
                  <a:pt x="1819942" y="2038028"/>
                </a:lnTo>
                <a:close/>
                <a:moveTo>
                  <a:pt x="1869186" y="1822234"/>
                </a:moveTo>
                <a:lnTo>
                  <a:pt x="2023205" y="1822234"/>
                </a:lnTo>
                <a:lnTo>
                  <a:pt x="2023205" y="1859450"/>
                </a:lnTo>
                <a:lnTo>
                  <a:pt x="1912239" y="1859450"/>
                </a:lnTo>
                <a:lnTo>
                  <a:pt x="1912239" y="1909197"/>
                </a:lnTo>
                <a:lnTo>
                  <a:pt x="2008537" y="1909197"/>
                </a:lnTo>
                <a:lnTo>
                  <a:pt x="2008537" y="1946413"/>
                </a:lnTo>
                <a:lnTo>
                  <a:pt x="1912239" y="1946413"/>
                </a:lnTo>
                <a:lnTo>
                  <a:pt x="1912239" y="2001097"/>
                </a:lnTo>
                <a:lnTo>
                  <a:pt x="2025587" y="2001097"/>
                </a:lnTo>
                <a:lnTo>
                  <a:pt x="2025587" y="2038123"/>
                </a:lnTo>
                <a:lnTo>
                  <a:pt x="1869186" y="2038123"/>
                </a:lnTo>
                <a:lnTo>
                  <a:pt x="1869186" y="1822234"/>
                </a:lnTo>
                <a:close/>
                <a:moveTo>
                  <a:pt x="2195513" y="2038028"/>
                </a:moveTo>
                <a:lnTo>
                  <a:pt x="2195513" y="1822329"/>
                </a:lnTo>
                <a:lnTo>
                  <a:pt x="2234565" y="1822329"/>
                </a:lnTo>
                <a:lnTo>
                  <a:pt x="2354295" y="1970432"/>
                </a:lnTo>
                <a:lnTo>
                  <a:pt x="2354295" y="1822329"/>
                </a:lnTo>
                <a:lnTo>
                  <a:pt x="2397347" y="1822329"/>
                </a:lnTo>
                <a:lnTo>
                  <a:pt x="2397347" y="2038028"/>
                </a:lnTo>
                <a:lnTo>
                  <a:pt x="2357628" y="2038028"/>
                </a:lnTo>
                <a:lnTo>
                  <a:pt x="2238566" y="1891539"/>
                </a:lnTo>
                <a:lnTo>
                  <a:pt x="2238566" y="2038028"/>
                </a:lnTo>
                <a:lnTo>
                  <a:pt x="2195513" y="2038028"/>
                </a:lnTo>
                <a:close/>
                <a:moveTo>
                  <a:pt x="2455259" y="1930558"/>
                </a:moveTo>
                <a:cubicBezTo>
                  <a:pt x="2455259" y="1865241"/>
                  <a:pt x="2503075" y="1819007"/>
                  <a:pt x="2568607" y="1819007"/>
                </a:cubicBezTo>
                <a:cubicBezTo>
                  <a:pt x="2634424" y="1819007"/>
                  <a:pt x="2682049" y="1865431"/>
                  <a:pt x="2682049" y="1930558"/>
                </a:cubicBezTo>
                <a:cubicBezTo>
                  <a:pt x="2682049" y="1995686"/>
                  <a:pt x="2634424" y="2041161"/>
                  <a:pt x="2568607" y="2041161"/>
                </a:cubicBezTo>
                <a:cubicBezTo>
                  <a:pt x="2503075" y="2041161"/>
                  <a:pt x="2455259" y="1995686"/>
                  <a:pt x="2455259" y="1930558"/>
                </a:cubicBezTo>
                <a:close/>
                <a:moveTo>
                  <a:pt x="2568797" y="2001287"/>
                </a:moveTo>
                <a:cubicBezTo>
                  <a:pt x="2609279" y="2001287"/>
                  <a:pt x="2637949" y="1972711"/>
                  <a:pt x="2637949" y="1930463"/>
                </a:cubicBezTo>
                <a:cubicBezTo>
                  <a:pt x="2637949" y="1888501"/>
                  <a:pt x="2609279" y="1859165"/>
                  <a:pt x="2568797" y="1859165"/>
                </a:cubicBezTo>
                <a:cubicBezTo>
                  <a:pt x="2528602" y="1859165"/>
                  <a:pt x="2499646" y="1888596"/>
                  <a:pt x="2499646" y="1930463"/>
                </a:cubicBezTo>
                <a:cubicBezTo>
                  <a:pt x="2499551" y="1972711"/>
                  <a:pt x="2528792" y="2001287"/>
                  <a:pt x="2568797" y="2001287"/>
                </a:cubicBezTo>
                <a:close/>
                <a:moveTo>
                  <a:pt x="2852261" y="1822234"/>
                </a:moveTo>
                <a:lnTo>
                  <a:pt x="2897886" y="1822234"/>
                </a:lnTo>
                <a:lnTo>
                  <a:pt x="2967704" y="1965875"/>
                </a:lnTo>
                <a:lnTo>
                  <a:pt x="3037332" y="1822234"/>
                </a:lnTo>
                <a:lnTo>
                  <a:pt x="3082957" y="1822234"/>
                </a:lnTo>
                <a:lnTo>
                  <a:pt x="3082957" y="2037933"/>
                </a:lnTo>
                <a:lnTo>
                  <a:pt x="3039904" y="2037933"/>
                </a:lnTo>
                <a:lnTo>
                  <a:pt x="3039904" y="1905590"/>
                </a:lnTo>
                <a:lnTo>
                  <a:pt x="2981611" y="2023502"/>
                </a:lnTo>
                <a:lnTo>
                  <a:pt x="2953703" y="2023502"/>
                </a:lnTo>
                <a:lnTo>
                  <a:pt x="2895410" y="1905590"/>
                </a:lnTo>
                <a:lnTo>
                  <a:pt x="2895410" y="2037933"/>
                </a:lnTo>
                <a:lnTo>
                  <a:pt x="2852357" y="2037933"/>
                </a:lnTo>
                <a:lnTo>
                  <a:pt x="2852357" y="1822234"/>
                </a:lnTo>
                <a:close/>
                <a:moveTo>
                  <a:pt x="3140869" y="1930558"/>
                </a:moveTo>
                <a:cubicBezTo>
                  <a:pt x="3140869" y="1865241"/>
                  <a:pt x="3188684" y="1819007"/>
                  <a:pt x="3254216" y="1819007"/>
                </a:cubicBezTo>
                <a:cubicBezTo>
                  <a:pt x="3320034" y="1819007"/>
                  <a:pt x="3367659" y="1865431"/>
                  <a:pt x="3367659" y="1930558"/>
                </a:cubicBezTo>
                <a:cubicBezTo>
                  <a:pt x="3367659" y="1995686"/>
                  <a:pt x="3320034" y="2041161"/>
                  <a:pt x="3254216" y="2041161"/>
                </a:cubicBezTo>
                <a:cubicBezTo>
                  <a:pt x="3188684" y="2041161"/>
                  <a:pt x="3140869" y="1995686"/>
                  <a:pt x="3140869" y="1930558"/>
                </a:cubicBezTo>
                <a:close/>
                <a:moveTo>
                  <a:pt x="3254312" y="2001287"/>
                </a:moveTo>
                <a:cubicBezTo>
                  <a:pt x="3294793" y="2001287"/>
                  <a:pt x="3323463" y="1972711"/>
                  <a:pt x="3323463" y="1930463"/>
                </a:cubicBezTo>
                <a:cubicBezTo>
                  <a:pt x="3323463" y="1888501"/>
                  <a:pt x="3294793" y="1859165"/>
                  <a:pt x="3254312" y="1859165"/>
                </a:cubicBezTo>
                <a:cubicBezTo>
                  <a:pt x="3214116" y="1859165"/>
                  <a:pt x="3185160" y="1888596"/>
                  <a:pt x="3185160" y="1930463"/>
                </a:cubicBezTo>
                <a:cubicBezTo>
                  <a:pt x="3185160" y="1972711"/>
                  <a:pt x="3214307" y="2001287"/>
                  <a:pt x="3254312" y="2001287"/>
                </a:cubicBezTo>
                <a:close/>
                <a:moveTo>
                  <a:pt x="3419094" y="2037838"/>
                </a:moveTo>
                <a:lnTo>
                  <a:pt x="3419094" y="1822234"/>
                </a:lnTo>
                <a:lnTo>
                  <a:pt x="3514535" y="1822234"/>
                </a:lnTo>
                <a:cubicBezTo>
                  <a:pt x="3561588" y="1822234"/>
                  <a:pt x="3591973" y="1850241"/>
                  <a:pt x="3591973" y="1891539"/>
                </a:cubicBezTo>
                <a:cubicBezTo>
                  <a:pt x="3591973" y="1918976"/>
                  <a:pt x="3576828" y="1941571"/>
                  <a:pt x="3551682" y="1952394"/>
                </a:cubicBezTo>
                <a:lnTo>
                  <a:pt x="3600641" y="2038028"/>
                </a:lnTo>
                <a:lnTo>
                  <a:pt x="3553492" y="2038028"/>
                </a:lnTo>
                <a:lnTo>
                  <a:pt x="3509296" y="1959514"/>
                </a:lnTo>
                <a:lnTo>
                  <a:pt x="3462242" y="1959514"/>
                </a:lnTo>
                <a:lnTo>
                  <a:pt x="3462242" y="2037838"/>
                </a:lnTo>
                <a:lnTo>
                  <a:pt x="3419094" y="2037838"/>
                </a:lnTo>
                <a:close/>
                <a:moveTo>
                  <a:pt x="3462242" y="1922299"/>
                </a:moveTo>
                <a:lnTo>
                  <a:pt x="3511772" y="1922299"/>
                </a:lnTo>
                <a:cubicBezTo>
                  <a:pt x="3535490" y="1922299"/>
                  <a:pt x="3547777" y="1907868"/>
                  <a:pt x="3547777" y="1891444"/>
                </a:cubicBezTo>
                <a:cubicBezTo>
                  <a:pt x="3547777" y="1873501"/>
                  <a:pt x="3535490" y="1859355"/>
                  <a:pt x="3511772" y="1859355"/>
                </a:cubicBezTo>
                <a:lnTo>
                  <a:pt x="3462242" y="1859355"/>
                </a:lnTo>
                <a:lnTo>
                  <a:pt x="3462242" y="1922299"/>
                </a:lnTo>
                <a:close/>
                <a:moveTo>
                  <a:pt x="3653599" y="1822234"/>
                </a:moveTo>
                <a:lnTo>
                  <a:pt x="3807619" y="1822234"/>
                </a:lnTo>
                <a:lnTo>
                  <a:pt x="3807619" y="1859450"/>
                </a:lnTo>
                <a:lnTo>
                  <a:pt x="3696653" y="1859450"/>
                </a:lnTo>
                <a:lnTo>
                  <a:pt x="3696653" y="1909197"/>
                </a:lnTo>
                <a:lnTo>
                  <a:pt x="3792950" y="1909197"/>
                </a:lnTo>
                <a:lnTo>
                  <a:pt x="3792950" y="1946413"/>
                </a:lnTo>
                <a:lnTo>
                  <a:pt x="3696653" y="1946413"/>
                </a:lnTo>
                <a:lnTo>
                  <a:pt x="3696653" y="2001097"/>
                </a:lnTo>
                <a:lnTo>
                  <a:pt x="3810000" y="2001097"/>
                </a:lnTo>
                <a:lnTo>
                  <a:pt x="3810000" y="2038123"/>
                </a:lnTo>
                <a:lnTo>
                  <a:pt x="3653599" y="2038123"/>
                </a:lnTo>
                <a:lnTo>
                  <a:pt x="3653599" y="1822234"/>
                </a:lnTo>
                <a:close/>
                <a:moveTo>
                  <a:pt x="2320290" y="0"/>
                </a:moveTo>
                <a:lnTo>
                  <a:pt x="1489710" y="0"/>
                </a:lnTo>
                <a:lnTo>
                  <a:pt x="1489710" y="588614"/>
                </a:lnTo>
                <a:lnTo>
                  <a:pt x="2320290" y="588614"/>
                </a:lnTo>
                <a:lnTo>
                  <a:pt x="2320290" y="0"/>
                </a:lnTo>
                <a:close/>
                <a:moveTo>
                  <a:pt x="2248567" y="253579"/>
                </a:moveTo>
                <a:lnTo>
                  <a:pt x="1959864" y="253579"/>
                </a:lnTo>
                <a:lnTo>
                  <a:pt x="1959864" y="318611"/>
                </a:lnTo>
                <a:lnTo>
                  <a:pt x="2248567" y="318611"/>
                </a:lnTo>
                <a:lnTo>
                  <a:pt x="2248567" y="524056"/>
                </a:lnTo>
                <a:lnTo>
                  <a:pt x="1561433" y="524056"/>
                </a:lnTo>
                <a:lnTo>
                  <a:pt x="1561433" y="318611"/>
                </a:lnTo>
                <a:lnTo>
                  <a:pt x="1850136" y="318611"/>
                </a:lnTo>
                <a:lnTo>
                  <a:pt x="1850136" y="253579"/>
                </a:lnTo>
                <a:lnTo>
                  <a:pt x="1561433" y="253579"/>
                </a:lnTo>
                <a:lnTo>
                  <a:pt x="1561433" y="65032"/>
                </a:lnTo>
                <a:lnTo>
                  <a:pt x="2248567" y="65032"/>
                </a:lnTo>
                <a:lnTo>
                  <a:pt x="2248567" y="253579"/>
                </a:lnTo>
                <a:close/>
              </a:path>
            </a:pathLst>
          </a:custGeom>
          <a:solidFill>
            <a:schemeClr val="tx1"/>
          </a:solidFill>
          <a:ln w="9525" cap="flat">
            <a:noFill/>
            <a:prstDash val="solid"/>
            <a:miter/>
          </a:ln>
        </p:spPr>
        <p:txBody>
          <a:bodyPr rtlCol="0" anchor="ctr"/>
          <a:lstStyle/>
          <a:p>
            <a:endParaRPr lang="en-US" b="0" i="0" dirty="0">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5313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slide - Dark">
    <p:bg>
      <p:bgPr>
        <a:gradFill>
          <a:gsLst>
            <a:gs pos="0">
              <a:schemeClr val="accent1">
                <a:lumMod val="75000"/>
              </a:schemeClr>
            </a:gs>
            <a:gs pos="50000">
              <a:schemeClr val="accent1"/>
            </a:gs>
          </a:gsLst>
          <a:lin ang="168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2730CD4-FE1C-40E3-94E8-D69A09D596C1}"/>
              </a:ext>
            </a:extLst>
          </p:cNvPr>
          <p:cNvGraphicFramePr>
            <a:graphicFrameLocks noChangeAspect="1"/>
          </p:cNvGraphicFramePr>
          <p:nvPr userDrawn="1">
            <p:custDataLst>
              <p:tags r:id="rId1"/>
            </p:custDataLst>
            <p:extLst>
              <p:ext uri="{D42A27DB-BD31-4B8C-83A1-F6EECF244321}">
                <p14:modId xmlns:p14="http://schemas.microsoft.com/office/powerpoint/2010/main" val="235965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2730CD4-FE1C-40E3-94E8-D69A09D596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Graphic 4">
            <a:extLst>
              <a:ext uri="{FF2B5EF4-FFF2-40B4-BE49-F238E27FC236}">
                <a16:creationId xmlns:a16="http://schemas.microsoft.com/office/drawing/2014/main" id="{597E2DEF-4E55-0A5F-B449-0138385E0BA8}"/>
              </a:ext>
            </a:extLst>
          </p:cNvPr>
          <p:cNvSpPr/>
          <p:nvPr userDrawn="1"/>
        </p:nvSpPr>
        <p:spPr>
          <a:xfrm>
            <a:off x="3810394" y="-1895061"/>
            <a:ext cx="10778341" cy="10774017"/>
          </a:xfrm>
          <a:custGeom>
            <a:avLst/>
            <a:gdLst>
              <a:gd name="connsiteX0" fmla="*/ 2375535 w 2375535"/>
              <a:gd name="connsiteY0" fmla="*/ 741045 h 2374582"/>
              <a:gd name="connsiteX1" fmla="*/ 1634490 w 2375535"/>
              <a:gd name="connsiteY1" fmla="*/ 0 h 2374582"/>
              <a:gd name="connsiteX2" fmla="*/ 1187768 w 2375535"/>
              <a:gd name="connsiteY2" fmla="*/ 446723 h 2374582"/>
              <a:gd name="connsiteX3" fmla="*/ 741045 w 2375535"/>
              <a:gd name="connsiteY3" fmla="*/ 0 h 2374582"/>
              <a:gd name="connsiteX4" fmla="*/ 0 w 2375535"/>
              <a:gd name="connsiteY4" fmla="*/ 741045 h 2374582"/>
              <a:gd name="connsiteX5" fmla="*/ 446723 w 2375535"/>
              <a:gd name="connsiteY5" fmla="*/ 1187768 h 2374582"/>
              <a:gd name="connsiteX6" fmla="*/ 0 w 2375535"/>
              <a:gd name="connsiteY6" fmla="*/ 1633538 h 2374582"/>
              <a:gd name="connsiteX7" fmla="*/ 741045 w 2375535"/>
              <a:gd name="connsiteY7" fmla="*/ 2374583 h 2374582"/>
              <a:gd name="connsiteX8" fmla="*/ 1187768 w 2375535"/>
              <a:gd name="connsiteY8" fmla="*/ 1927860 h 2374582"/>
              <a:gd name="connsiteX9" fmla="*/ 1634490 w 2375535"/>
              <a:gd name="connsiteY9" fmla="*/ 2374583 h 2374582"/>
              <a:gd name="connsiteX10" fmla="*/ 2375535 w 2375535"/>
              <a:gd name="connsiteY10" fmla="*/ 1633538 h 2374582"/>
              <a:gd name="connsiteX11" fmla="*/ 1928813 w 2375535"/>
              <a:gd name="connsiteY11" fmla="*/ 1186815 h 2374582"/>
              <a:gd name="connsiteX12" fmla="*/ 2375535 w 2375535"/>
              <a:gd name="connsiteY12" fmla="*/ 741045 h 2374582"/>
              <a:gd name="connsiteX13" fmla="*/ 2206943 w 2375535"/>
              <a:gd name="connsiteY13" fmla="*/ 741045 h 2374582"/>
              <a:gd name="connsiteX14" fmla="*/ 1844040 w 2375535"/>
              <a:gd name="connsiteY14" fmla="*/ 1103948 h 2374582"/>
              <a:gd name="connsiteX15" fmla="*/ 1600200 w 2375535"/>
              <a:gd name="connsiteY15" fmla="*/ 860108 h 2374582"/>
              <a:gd name="connsiteX16" fmla="*/ 1963103 w 2375535"/>
              <a:gd name="connsiteY16" fmla="*/ 497205 h 2374582"/>
              <a:gd name="connsiteX17" fmla="*/ 2206943 w 2375535"/>
              <a:gd name="connsiteY17" fmla="*/ 741045 h 2374582"/>
              <a:gd name="connsiteX18" fmla="*/ 1616393 w 2375535"/>
              <a:gd name="connsiteY18" fmla="*/ 1043940 h 2374582"/>
              <a:gd name="connsiteX19" fmla="*/ 1557338 w 2375535"/>
              <a:gd name="connsiteY19" fmla="*/ 1102995 h 2374582"/>
              <a:gd name="connsiteX20" fmla="*/ 1271588 w 2375535"/>
              <a:gd name="connsiteY20" fmla="*/ 817245 h 2374582"/>
              <a:gd name="connsiteX21" fmla="*/ 1330643 w 2375535"/>
              <a:gd name="connsiteY21" fmla="*/ 758190 h 2374582"/>
              <a:gd name="connsiteX22" fmla="*/ 1616393 w 2375535"/>
              <a:gd name="connsiteY22" fmla="*/ 1043940 h 2374582"/>
              <a:gd name="connsiteX23" fmla="*/ 1187768 w 2375535"/>
              <a:gd name="connsiteY23" fmla="*/ 1102995 h 2374582"/>
              <a:gd name="connsiteX24" fmla="*/ 1086803 w 2375535"/>
              <a:gd name="connsiteY24" fmla="*/ 1002030 h 2374582"/>
              <a:gd name="connsiteX25" fmla="*/ 1187768 w 2375535"/>
              <a:gd name="connsiteY25" fmla="*/ 902018 h 2374582"/>
              <a:gd name="connsiteX26" fmla="*/ 1288733 w 2375535"/>
              <a:gd name="connsiteY26" fmla="*/ 1002983 h 2374582"/>
              <a:gd name="connsiteX27" fmla="*/ 1187768 w 2375535"/>
              <a:gd name="connsiteY27" fmla="*/ 1102995 h 2374582"/>
              <a:gd name="connsiteX28" fmla="*/ 1002983 w 2375535"/>
              <a:gd name="connsiteY28" fmla="*/ 1086803 h 2374582"/>
              <a:gd name="connsiteX29" fmla="*/ 1103948 w 2375535"/>
              <a:gd name="connsiteY29" fmla="*/ 1187768 h 2374582"/>
              <a:gd name="connsiteX30" fmla="*/ 1002983 w 2375535"/>
              <a:gd name="connsiteY30" fmla="*/ 1288733 h 2374582"/>
              <a:gd name="connsiteX31" fmla="*/ 902018 w 2375535"/>
              <a:gd name="connsiteY31" fmla="*/ 1187768 h 2374582"/>
              <a:gd name="connsiteX32" fmla="*/ 1002983 w 2375535"/>
              <a:gd name="connsiteY32" fmla="*/ 1086803 h 2374582"/>
              <a:gd name="connsiteX33" fmla="*/ 1187768 w 2375535"/>
              <a:gd name="connsiteY33" fmla="*/ 1271588 h 2374582"/>
              <a:gd name="connsiteX34" fmla="*/ 1288733 w 2375535"/>
              <a:gd name="connsiteY34" fmla="*/ 1372553 h 2374582"/>
              <a:gd name="connsiteX35" fmla="*/ 1187768 w 2375535"/>
              <a:gd name="connsiteY35" fmla="*/ 1473518 h 2374582"/>
              <a:gd name="connsiteX36" fmla="*/ 1086803 w 2375535"/>
              <a:gd name="connsiteY36" fmla="*/ 1372553 h 2374582"/>
              <a:gd name="connsiteX37" fmla="*/ 1187768 w 2375535"/>
              <a:gd name="connsiteY37" fmla="*/ 1271588 h 2374582"/>
              <a:gd name="connsiteX38" fmla="*/ 1372553 w 2375535"/>
              <a:gd name="connsiteY38" fmla="*/ 1287780 h 2374582"/>
              <a:gd name="connsiteX39" fmla="*/ 1271588 w 2375535"/>
              <a:gd name="connsiteY39" fmla="*/ 1186815 h 2374582"/>
              <a:gd name="connsiteX40" fmla="*/ 1372553 w 2375535"/>
              <a:gd name="connsiteY40" fmla="*/ 1085850 h 2374582"/>
              <a:gd name="connsiteX41" fmla="*/ 1473518 w 2375535"/>
              <a:gd name="connsiteY41" fmla="*/ 1186815 h 2374582"/>
              <a:gd name="connsiteX42" fmla="*/ 1372553 w 2375535"/>
              <a:gd name="connsiteY42" fmla="*/ 1287780 h 2374582"/>
              <a:gd name="connsiteX43" fmla="*/ 1187768 w 2375535"/>
              <a:gd name="connsiteY43" fmla="*/ 733425 h 2374582"/>
              <a:gd name="connsiteX44" fmla="*/ 1128713 w 2375535"/>
              <a:gd name="connsiteY44" fmla="*/ 674370 h 2374582"/>
              <a:gd name="connsiteX45" fmla="*/ 1187768 w 2375535"/>
              <a:gd name="connsiteY45" fmla="*/ 615315 h 2374582"/>
              <a:gd name="connsiteX46" fmla="*/ 1246823 w 2375535"/>
              <a:gd name="connsiteY46" fmla="*/ 674370 h 2374582"/>
              <a:gd name="connsiteX47" fmla="*/ 1187768 w 2375535"/>
              <a:gd name="connsiteY47" fmla="*/ 733425 h 2374582"/>
              <a:gd name="connsiteX48" fmla="*/ 1103948 w 2375535"/>
              <a:gd name="connsiteY48" fmla="*/ 817245 h 2374582"/>
              <a:gd name="connsiteX49" fmla="*/ 818198 w 2375535"/>
              <a:gd name="connsiteY49" fmla="*/ 1102995 h 2374582"/>
              <a:gd name="connsiteX50" fmla="*/ 759143 w 2375535"/>
              <a:gd name="connsiteY50" fmla="*/ 1043940 h 2374582"/>
              <a:gd name="connsiteX51" fmla="*/ 1044893 w 2375535"/>
              <a:gd name="connsiteY51" fmla="*/ 758190 h 2374582"/>
              <a:gd name="connsiteX52" fmla="*/ 1103948 w 2375535"/>
              <a:gd name="connsiteY52" fmla="*/ 817245 h 2374582"/>
              <a:gd name="connsiteX53" fmla="*/ 674370 w 2375535"/>
              <a:gd name="connsiteY53" fmla="*/ 1127760 h 2374582"/>
              <a:gd name="connsiteX54" fmla="*/ 733425 w 2375535"/>
              <a:gd name="connsiteY54" fmla="*/ 1186815 h 2374582"/>
              <a:gd name="connsiteX55" fmla="*/ 674370 w 2375535"/>
              <a:gd name="connsiteY55" fmla="*/ 1245870 h 2374582"/>
              <a:gd name="connsiteX56" fmla="*/ 615315 w 2375535"/>
              <a:gd name="connsiteY56" fmla="*/ 1186815 h 2374582"/>
              <a:gd name="connsiteX57" fmla="*/ 674370 w 2375535"/>
              <a:gd name="connsiteY57" fmla="*/ 1127760 h 2374582"/>
              <a:gd name="connsiteX58" fmla="*/ 759143 w 2375535"/>
              <a:gd name="connsiteY58" fmla="*/ 1330643 h 2374582"/>
              <a:gd name="connsiteX59" fmla="*/ 818198 w 2375535"/>
              <a:gd name="connsiteY59" fmla="*/ 1271588 h 2374582"/>
              <a:gd name="connsiteX60" fmla="*/ 1103948 w 2375535"/>
              <a:gd name="connsiteY60" fmla="*/ 1557338 h 2374582"/>
              <a:gd name="connsiteX61" fmla="*/ 1044893 w 2375535"/>
              <a:gd name="connsiteY61" fmla="*/ 1616393 h 2374582"/>
              <a:gd name="connsiteX62" fmla="*/ 759143 w 2375535"/>
              <a:gd name="connsiteY62" fmla="*/ 1330643 h 2374582"/>
              <a:gd name="connsiteX63" fmla="*/ 1187768 w 2375535"/>
              <a:gd name="connsiteY63" fmla="*/ 1641158 h 2374582"/>
              <a:gd name="connsiteX64" fmla="*/ 1246823 w 2375535"/>
              <a:gd name="connsiteY64" fmla="*/ 1700213 h 2374582"/>
              <a:gd name="connsiteX65" fmla="*/ 1187768 w 2375535"/>
              <a:gd name="connsiteY65" fmla="*/ 1759268 h 2374582"/>
              <a:gd name="connsiteX66" fmla="*/ 1128713 w 2375535"/>
              <a:gd name="connsiteY66" fmla="*/ 1700213 h 2374582"/>
              <a:gd name="connsiteX67" fmla="*/ 1187768 w 2375535"/>
              <a:gd name="connsiteY67" fmla="*/ 1641158 h 2374582"/>
              <a:gd name="connsiteX68" fmla="*/ 1271588 w 2375535"/>
              <a:gd name="connsiteY68" fmla="*/ 1556385 h 2374582"/>
              <a:gd name="connsiteX69" fmla="*/ 1557338 w 2375535"/>
              <a:gd name="connsiteY69" fmla="*/ 1270635 h 2374582"/>
              <a:gd name="connsiteX70" fmla="*/ 1616393 w 2375535"/>
              <a:gd name="connsiteY70" fmla="*/ 1329690 h 2374582"/>
              <a:gd name="connsiteX71" fmla="*/ 1330643 w 2375535"/>
              <a:gd name="connsiteY71" fmla="*/ 1615440 h 2374582"/>
              <a:gd name="connsiteX72" fmla="*/ 1271588 w 2375535"/>
              <a:gd name="connsiteY72" fmla="*/ 1556385 h 2374582"/>
              <a:gd name="connsiteX73" fmla="*/ 1701165 w 2375535"/>
              <a:gd name="connsiteY73" fmla="*/ 1246823 h 2374582"/>
              <a:gd name="connsiteX74" fmla="*/ 1642110 w 2375535"/>
              <a:gd name="connsiteY74" fmla="*/ 1187768 h 2374582"/>
              <a:gd name="connsiteX75" fmla="*/ 1701165 w 2375535"/>
              <a:gd name="connsiteY75" fmla="*/ 1128713 h 2374582"/>
              <a:gd name="connsiteX76" fmla="*/ 1760220 w 2375535"/>
              <a:gd name="connsiteY76" fmla="*/ 1187768 h 2374582"/>
              <a:gd name="connsiteX77" fmla="*/ 1701165 w 2375535"/>
              <a:gd name="connsiteY77" fmla="*/ 1246823 h 2374582"/>
              <a:gd name="connsiteX78" fmla="*/ 1634490 w 2375535"/>
              <a:gd name="connsiteY78" fmla="*/ 168593 h 2374582"/>
              <a:gd name="connsiteX79" fmla="*/ 1878330 w 2375535"/>
              <a:gd name="connsiteY79" fmla="*/ 412432 h 2374582"/>
              <a:gd name="connsiteX80" fmla="*/ 1515428 w 2375535"/>
              <a:gd name="connsiteY80" fmla="*/ 775335 h 2374582"/>
              <a:gd name="connsiteX81" fmla="*/ 1331595 w 2375535"/>
              <a:gd name="connsiteY81" fmla="*/ 589598 h 2374582"/>
              <a:gd name="connsiteX82" fmla="*/ 1331595 w 2375535"/>
              <a:gd name="connsiteY82" fmla="*/ 589598 h 2374582"/>
              <a:gd name="connsiteX83" fmla="*/ 1272540 w 2375535"/>
              <a:gd name="connsiteY83" fmla="*/ 530543 h 2374582"/>
              <a:gd name="connsiteX84" fmla="*/ 1634490 w 2375535"/>
              <a:gd name="connsiteY84" fmla="*/ 168593 h 2374582"/>
              <a:gd name="connsiteX85" fmla="*/ 741045 w 2375535"/>
              <a:gd name="connsiteY85" fmla="*/ 168593 h 2374582"/>
              <a:gd name="connsiteX86" fmla="*/ 1103948 w 2375535"/>
              <a:gd name="connsiteY86" fmla="*/ 530543 h 2374582"/>
              <a:gd name="connsiteX87" fmla="*/ 1044893 w 2375535"/>
              <a:gd name="connsiteY87" fmla="*/ 589598 h 2374582"/>
              <a:gd name="connsiteX88" fmla="*/ 1044893 w 2375535"/>
              <a:gd name="connsiteY88" fmla="*/ 589598 h 2374582"/>
              <a:gd name="connsiteX89" fmla="*/ 859155 w 2375535"/>
              <a:gd name="connsiteY89" fmla="*/ 774383 h 2374582"/>
              <a:gd name="connsiteX90" fmla="*/ 497205 w 2375535"/>
              <a:gd name="connsiteY90" fmla="*/ 412432 h 2374582"/>
              <a:gd name="connsiteX91" fmla="*/ 741045 w 2375535"/>
              <a:gd name="connsiteY91" fmla="*/ 168593 h 2374582"/>
              <a:gd name="connsiteX92" fmla="*/ 168593 w 2375535"/>
              <a:gd name="connsiteY92" fmla="*/ 741045 h 2374582"/>
              <a:gd name="connsiteX93" fmla="*/ 412433 w 2375535"/>
              <a:gd name="connsiteY93" fmla="*/ 497205 h 2374582"/>
              <a:gd name="connsiteX94" fmla="*/ 775335 w 2375535"/>
              <a:gd name="connsiteY94" fmla="*/ 860108 h 2374582"/>
              <a:gd name="connsiteX95" fmla="*/ 531495 w 2375535"/>
              <a:gd name="connsiteY95" fmla="*/ 1102995 h 2374582"/>
              <a:gd name="connsiteX96" fmla="*/ 168593 w 2375535"/>
              <a:gd name="connsiteY96" fmla="*/ 741045 h 2374582"/>
              <a:gd name="connsiteX97" fmla="*/ 168593 w 2375535"/>
              <a:gd name="connsiteY97" fmla="*/ 1633538 h 2374582"/>
              <a:gd name="connsiteX98" fmla="*/ 531495 w 2375535"/>
              <a:gd name="connsiteY98" fmla="*/ 1271588 h 2374582"/>
              <a:gd name="connsiteX99" fmla="*/ 775335 w 2375535"/>
              <a:gd name="connsiteY99" fmla="*/ 1515428 h 2374582"/>
              <a:gd name="connsiteX100" fmla="*/ 412433 w 2375535"/>
              <a:gd name="connsiteY100" fmla="*/ 1878330 h 2374582"/>
              <a:gd name="connsiteX101" fmla="*/ 168593 w 2375535"/>
              <a:gd name="connsiteY101" fmla="*/ 1633538 h 2374582"/>
              <a:gd name="connsiteX102" fmla="*/ 741045 w 2375535"/>
              <a:gd name="connsiteY102" fmla="*/ 2205990 h 2374582"/>
              <a:gd name="connsiteX103" fmla="*/ 497205 w 2375535"/>
              <a:gd name="connsiteY103" fmla="*/ 1962150 h 2374582"/>
              <a:gd name="connsiteX104" fmla="*/ 860108 w 2375535"/>
              <a:gd name="connsiteY104" fmla="*/ 1599248 h 2374582"/>
              <a:gd name="connsiteX105" fmla="*/ 1044893 w 2375535"/>
              <a:gd name="connsiteY105" fmla="*/ 1784033 h 2374582"/>
              <a:gd name="connsiteX106" fmla="*/ 1044893 w 2375535"/>
              <a:gd name="connsiteY106" fmla="*/ 1784033 h 2374582"/>
              <a:gd name="connsiteX107" fmla="*/ 1103948 w 2375535"/>
              <a:gd name="connsiteY107" fmla="*/ 1843088 h 2374582"/>
              <a:gd name="connsiteX108" fmla="*/ 741045 w 2375535"/>
              <a:gd name="connsiteY108" fmla="*/ 2205990 h 2374582"/>
              <a:gd name="connsiteX109" fmla="*/ 1634490 w 2375535"/>
              <a:gd name="connsiteY109" fmla="*/ 2205990 h 2374582"/>
              <a:gd name="connsiteX110" fmla="*/ 1271588 w 2375535"/>
              <a:gd name="connsiteY110" fmla="*/ 1843088 h 2374582"/>
              <a:gd name="connsiteX111" fmla="*/ 1330643 w 2375535"/>
              <a:gd name="connsiteY111" fmla="*/ 1784033 h 2374582"/>
              <a:gd name="connsiteX112" fmla="*/ 1330643 w 2375535"/>
              <a:gd name="connsiteY112" fmla="*/ 1784033 h 2374582"/>
              <a:gd name="connsiteX113" fmla="*/ 1515428 w 2375535"/>
              <a:gd name="connsiteY113" fmla="*/ 1599248 h 2374582"/>
              <a:gd name="connsiteX114" fmla="*/ 1878330 w 2375535"/>
              <a:gd name="connsiteY114" fmla="*/ 1962150 h 2374582"/>
              <a:gd name="connsiteX115" fmla="*/ 1634490 w 2375535"/>
              <a:gd name="connsiteY115" fmla="*/ 2205990 h 2374582"/>
              <a:gd name="connsiteX116" fmla="*/ 2206943 w 2375535"/>
              <a:gd name="connsiteY116" fmla="*/ 1633538 h 2374582"/>
              <a:gd name="connsiteX117" fmla="*/ 1963103 w 2375535"/>
              <a:gd name="connsiteY117" fmla="*/ 1877378 h 2374582"/>
              <a:gd name="connsiteX118" fmla="*/ 1600200 w 2375535"/>
              <a:gd name="connsiteY118" fmla="*/ 1514475 h 2374582"/>
              <a:gd name="connsiteX119" fmla="*/ 1844040 w 2375535"/>
              <a:gd name="connsiteY119" fmla="*/ 1270635 h 2374582"/>
              <a:gd name="connsiteX120" fmla="*/ 2206943 w 2375535"/>
              <a:gd name="connsiteY120" fmla="*/ 1633538 h 237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75535" h="2374582">
                <a:moveTo>
                  <a:pt x="2375535" y="741045"/>
                </a:moveTo>
                <a:lnTo>
                  <a:pt x="1634490" y="0"/>
                </a:lnTo>
                <a:lnTo>
                  <a:pt x="1187768" y="446723"/>
                </a:lnTo>
                <a:lnTo>
                  <a:pt x="741045" y="0"/>
                </a:lnTo>
                <a:lnTo>
                  <a:pt x="0" y="741045"/>
                </a:lnTo>
                <a:lnTo>
                  <a:pt x="446723" y="1187768"/>
                </a:lnTo>
                <a:lnTo>
                  <a:pt x="0" y="1633538"/>
                </a:lnTo>
                <a:lnTo>
                  <a:pt x="741045" y="2374583"/>
                </a:lnTo>
                <a:lnTo>
                  <a:pt x="1187768" y="1927860"/>
                </a:lnTo>
                <a:lnTo>
                  <a:pt x="1634490" y="2374583"/>
                </a:lnTo>
                <a:lnTo>
                  <a:pt x="2375535" y="1633538"/>
                </a:lnTo>
                <a:lnTo>
                  <a:pt x="1928813" y="1186815"/>
                </a:lnTo>
                <a:lnTo>
                  <a:pt x="2375535" y="741045"/>
                </a:lnTo>
                <a:close/>
                <a:moveTo>
                  <a:pt x="2206943" y="741045"/>
                </a:moveTo>
                <a:lnTo>
                  <a:pt x="1844040" y="1103948"/>
                </a:lnTo>
                <a:lnTo>
                  <a:pt x="1600200" y="860108"/>
                </a:lnTo>
                <a:lnTo>
                  <a:pt x="1963103" y="497205"/>
                </a:lnTo>
                <a:lnTo>
                  <a:pt x="2206943" y="741045"/>
                </a:lnTo>
                <a:close/>
                <a:moveTo>
                  <a:pt x="1616393" y="1043940"/>
                </a:moveTo>
                <a:lnTo>
                  <a:pt x="1557338" y="1102995"/>
                </a:lnTo>
                <a:lnTo>
                  <a:pt x="1271588" y="817245"/>
                </a:lnTo>
                <a:lnTo>
                  <a:pt x="1330643" y="758190"/>
                </a:lnTo>
                <a:lnTo>
                  <a:pt x="1616393" y="1043940"/>
                </a:lnTo>
                <a:close/>
                <a:moveTo>
                  <a:pt x="1187768" y="1102995"/>
                </a:moveTo>
                <a:lnTo>
                  <a:pt x="1086803" y="1002030"/>
                </a:lnTo>
                <a:lnTo>
                  <a:pt x="1187768" y="902018"/>
                </a:lnTo>
                <a:lnTo>
                  <a:pt x="1288733" y="1002983"/>
                </a:lnTo>
                <a:lnTo>
                  <a:pt x="1187768" y="1102995"/>
                </a:lnTo>
                <a:close/>
                <a:moveTo>
                  <a:pt x="1002983" y="1086803"/>
                </a:moveTo>
                <a:lnTo>
                  <a:pt x="1103948" y="1187768"/>
                </a:lnTo>
                <a:lnTo>
                  <a:pt x="1002983" y="1288733"/>
                </a:lnTo>
                <a:lnTo>
                  <a:pt x="902018" y="1187768"/>
                </a:lnTo>
                <a:lnTo>
                  <a:pt x="1002983" y="1086803"/>
                </a:lnTo>
                <a:close/>
                <a:moveTo>
                  <a:pt x="1187768" y="1271588"/>
                </a:moveTo>
                <a:lnTo>
                  <a:pt x="1288733" y="1372553"/>
                </a:lnTo>
                <a:lnTo>
                  <a:pt x="1187768" y="1473518"/>
                </a:lnTo>
                <a:lnTo>
                  <a:pt x="1086803" y="1372553"/>
                </a:lnTo>
                <a:lnTo>
                  <a:pt x="1187768" y="1271588"/>
                </a:lnTo>
                <a:close/>
                <a:moveTo>
                  <a:pt x="1372553" y="1287780"/>
                </a:moveTo>
                <a:lnTo>
                  <a:pt x="1271588" y="1186815"/>
                </a:lnTo>
                <a:lnTo>
                  <a:pt x="1372553" y="1085850"/>
                </a:lnTo>
                <a:lnTo>
                  <a:pt x="1473518" y="1186815"/>
                </a:lnTo>
                <a:lnTo>
                  <a:pt x="1372553" y="1287780"/>
                </a:lnTo>
                <a:close/>
                <a:moveTo>
                  <a:pt x="1187768" y="733425"/>
                </a:moveTo>
                <a:lnTo>
                  <a:pt x="1128713" y="674370"/>
                </a:lnTo>
                <a:lnTo>
                  <a:pt x="1187768" y="615315"/>
                </a:lnTo>
                <a:lnTo>
                  <a:pt x="1246823" y="674370"/>
                </a:lnTo>
                <a:lnTo>
                  <a:pt x="1187768" y="733425"/>
                </a:lnTo>
                <a:close/>
                <a:moveTo>
                  <a:pt x="1103948" y="817245"/>
                </a:moveTo>
                <a:lnTo>
                  <a:pt x="818198" y="1102995"/>
                </a:lnTo>
                <a:lnTo>
                  <a:pt x="759143" y="1043940"/>
                </a:lnTo>
                <a:lnTo>
                  <a:pt x="1044893" y="758190"/>
                </a:lnTo>
                <a:lnTo>
                  <a:pt x="1103948" y="817245"/>
                </a:lnTo>
                <a:close/>
                <a:moveTo>
                  <a:pt x="674370" y="1127760"/>
                </a:moveTo>
                <a:lnTo>
                  <a:pt x="733425" y="1186815"/>
                </a:lnTo>
                <a:lnTo>
                  <a:pt x="674370" y="1245870"/>
                </a:lnTo>
                <a:lnTo>
                  <a:pt x="615315" y="1186815"/>
                </a:lnTo>
                <a:lnTo>
                  <a:pt x="674370" y="1127760"/>
                </a:lnTo>
                <a:close/>
                <a:moveTo>
                  <a:pt x="759143" y="1330643"/>
                </a:moveTo>
                <a:lnTo>
                  <a:pt x="818198" y="1271588"/>
                </a:lnTo>
                <a:lnTo>
                  <a:pt x="1103948" y="1557338"/>
                </a:lnTo>
                <a:lnTo>
                  <a:pt x="1044893" y="1616393"/>
                </a:lnTo>
                <a:lnTo>
                  <a:pt x="759143" y="1330643"/>
                </a:lnTo>
                <a:close/>
                <a:moveTo>
                  <a:pt x="1187768" y="1641158"/>
                </a:moveTo>
                <a:lnTo>
                  <a:pt x="1246823" y="1700213"/>
                </a:lnTo>
                <a:lnTo>
                  <a:pt x="1187768" y="1759268"/>
                </a:lnTo>
                <a:lnTo>
                  <a:pt x="1128713" y="1700213"/>
                </a:lnTo>
                <a:lnTo>
                  <a:pt x="1187768" y="1641158"/>
                </a:lnTo>
                <a:close/>
                <a:moveTo>
                  <a:pt x="1271588" y="1556385"/>
                </a:moveTo>
                <a:lnTo>
                  <a:pt x="1557338" y="1270635"/>
                </a:lnTo>
                <a:lnTo>
                  <a:pt x="1616393" y="1329690"/>
                </a:lnTo>
                <a:lnTo>
                  <a:pt x="1330643" y="1615440"/>
                </a:lnTo>
                <a:lnTo>
                  <a:pt x="1271588" y="1556385"/>
                </a:lnTo>
                <a:close/>
                <a:moveTo>
                  <a:pt x="1701165" y="1246823"/>
                </a:moveTo>
                <a:lnTo>
                  <a:pt x="1642110" y="1187768"/>
                </a:lnTo>
                <a:lnTo>
                  <a:pt x="1701165" y="1128713"/>
                </a:lnTo>
                <a:lnTo>
                  <a:pt x="1760220" y="1187768"/>
                </a:lnTo>
                <a:lnTo>
                  <a:pt x="1701165" y="1246823"/>
                </a:lnTo>
                <a:close/>
                <a:moveTo>
                  <a:pt x="1634490" y="168593"/>
                </a:moveTo>
                <a:lnTo>
                  <a:pt x="1878330" y="412432"/>
                </a:lnTo>
                <a:lnTo>
                  <a:pt x="1515428" y="775335"/>
                </a:lnTo>
                <a:lnTo>
                  <a:pt x="1331595" y="589598"/>
                </a:lnTo>
                <a:lnTo>
                  <a:pt x="1331595" y="589598"/>
                </a:lnTo>
                <a:lnTo>
                  <a:pt x="1272540" y="530543"/>
                </a:lnTo>
                <a:lnTo>
                  <a:pt x="1634490" y="168593"/>
                </a:lnTo>
                <a:close/>
                <a:moveTo>
                  <a:pt x="741045" y="168593"/>
                </a:moveTo>
                <a:lnTo>
                  <a:pt x="1103948" y="530543"/>
                </a:lnTo>
                <a:lnTo>
                  <a:pt x="1044893" y="589598"/>
                </a:lnTo>
                <a:lnTo>
                  <a:pt x="1044893" y="589598"/>
                </a:lnTo>
                <a:lnTo>
                  <a:pt x="859155" y="774383"/>
                </a:lnTo>
                <a:lnTo>
                  <a:pt x="497205" y="412432"/>
                </a:lnTo>
                <a:lnTo>
                  <a:pt x="741045" y="168593"/>
                </a:lnTo>
                <a:close/>
                <a:moveTo>
                  <a:pt x="168593" y="741045"/>
                </a:moveTo>
                <a:lnTo>
                  <a:pt x="412433" y="497205"/>
                </a:lnTo>
                <a:lnTo>
                  <a:pt x="775335" y="860108"/>
                </a:lnTo>
                <a:lnTo>
                  <a:pt x="531495" y="1102995"/>
                </a:lnTo>
                <a:lnTo>
                  <a:pt x="168593" y="741045"/>
                </a:lnTo>
                <a:close/>
                <a:moveTo>
                  <a:pt x="168593" y="1633538"/>
                </a:moveTo>
                <a:lnTo>
                  <a:pt x="531495" y="1271588"/>
                </a:lnTo>
                <a:lnTo>
                  <a:pt x="775335" y="1515428"/>
                </a:lnTo>
                <a:lnTo>
                  <a:pt x="412433" y="1878330"/>
                </a:lnTo>
                <a:lnTo>
                  <a:pt x="168593" y="1633538"/>
                </a:lnTo>
                <a:close/>
                <a:moveTo>
                  <a:pt x="741045" y="2205990"/>
                </a:moveTo>
                <a:lnTo>
                  <a:pt x="497205" y="1962150"/>
                </a:lnTo>
                <a:lnTo>
                  <a:pt x="860108" y="1599248"/>
                </a:lnTo>
                <a:lnTo>
                  <a:pt x="1044893" y="1784033"/>
                </a:lnTo>
                <a:lnTo>
                  <a:pt x="1044893" y="1784033"/>
                </a:lnTo>
                <a:lnTo>
                  <a:pt x="1103948" y="1843088"/>
                </a:lnTo>
                <a:lnTo>
                  <a:pt x="741045" y="2205990"/>
                </a:lnTo>
                <a:close/>
                <a:moveTo>
                  <a:pt x="1634490" y="2205990"/>
                </a:moveTo>
                <a:lnTo>
                  <a:pt x="1271588" y="1843088"/>
                </a:lnTo>
                <a:lnTo>
                  <a:pt x="1330643" y="1784033"/>
                </a:lnTo>
                <a:lnTo>
                  <a:pt x="1330643" y="1784033"/>
                </a:lnTo>
                <a:lnTo>
                  <a:pt x="1515428" y="1599248"/>
                </a:lnTo>
                <a:lnTo>
                  <a:pt x="1878330" y="1962150"/>
                </a:lnTo>
                <a:lnTo>
                  <a:pt x="1634490" y="2205990"/>
                </a:lnTo>
                <a:close/>
                <a:moveTo>
                  <a:pt x="2206943" y="1633538"/>
                </a:moveTo>
                <a:lnTo>
                  <a:pt x="1963103" y="1877378"/>
                </a:lnTo>
                <a:lnTo>
                  <a:pt x="1600200" y="1514475"/>
                </a:lnTo>
                <a:lnTo>
                  <a:pt x="1844040" y="1270635"/>
                </a:lnTo>
                <a:lnTo>
                  <a:pt x="2206943" y="1633538"/>
                </a:lnTo>
                <a:close/>
              </a:path>
            </a:pathLst>
          </a:custGeom>
          <a:solidFill>
            <a:schemeClr val="bg1">
              <a:alpha val="14985"/>
            </a:schemeClr>
          </a:solidFill>
          <a:ln w="9525" cap="flat">
            <a:noFill/>
            <a:prstDash val="solid"/>
            <a:miter/>
          </a:ln>
        </p:spPr>
        <p:txBody>
          <a:bodyPr rtlCol="0" anchor="ctr"/>
          <a:lstStyle/>
          <a:p>
            <a:pPr rtl="0">
              <a:lnSpc>
                <a:spcPct val="100000"/>
              </a:lnSpc>
            </a:pPr>
            <a:endParaRPr lang="en-US">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7" name="Graphic 4">
            <a:extLst>
              <a:ext uri="{FF2B5EF4-FFF2-40B4-BE49-F238E27FC236}">
                <a16:creationId xmlns:a16="http://schemas.microsoft.com/office/drawing/2014/main" id="{D931F874-6C1D-71C2-E93A-F64319C40171}"/>
              </a:ext>
            </a:extLst>
          </p:cNvPr>
          <p:cNvSpPr/>
          <p:nvPr/>
        </p:nvSpPr>
        <p:spPr>
          <a:xfrm>
            <a:off x="6776576" y="1066800"/>
            <a:ext cx="4855888" cy="4853940"/>
          </a:xfrm>
          <a:custGeom>
            <a:avLst/>
            <a:gdLst>
              <a:gd name="connsiteX0" fmla="*/ 2375535 w 2375535"/>
              <a:gd name="connsiteY0" fmla="*/ 741045 h 2374582"/>
              <a:gd name="connsiteX1" fmla="*/ 1634490 w 2375535"/>
              <a:gd name="connsiteY1" fmla="*/ 0 h 2374582"/>
              <a:gd name="connsiteX2" fmla="*/ 1187768 w 2375535"/>
              <a:gd name="connsiteY2" fmla="*/ 446723 h 2374582"/>
              <a:gd name="connsiteX3" fmla="*/ 741045 w 2375535"/>
              <a:gd name="connsiteY3" fmla="*/ 0 h 2374582"/>
              <a:gd name="connsiteX4" fmla="*/ 0 w 2375535"/>
              <a:gd name="connsiteY4" fmla="*/ 741045 h 2374582"/>
              <a:gd name="connsiteX5" fmla="*/ 446723 w 2375535"/>
              <a:gd name="connsiteY5" fmla="*/ 1187768 h 2374582"/>
              <a:gd name="connsiteX6" fmla="*/ 0 w 2375535"/>
              <a:gd name="connsiteY6" fmla="*/ 1633538 h 2374582"/>
              <a:gd name="connsiteX7" fmla="*/ 741045 w 2375535"/>
              <a:gd name="connsiteY7" fmla="*/ 2374583 h 2374582"/>
              <a:gd name="connsiteX8" fmla="*/ 1187768 w 2375535"/>
              <a:gd name="connsiteY8" fmla="*/ 1927860 h 2374582"/>
              <a:gd name="connsiteX9" fmla="*/ 1634490 w 2375535"/>
              <a:gd name="connsiteY9" fmla="*/ 2374583 h 2374582"/>
              <a:gd name="connsiteX10" fmla="*/ 2375535 w 2375535"/>
              <a:gd name="connsiteY10" fmla="*/ 1633538 h 2374582"/>
              <a:gd name="connsiteX11" fmla="*/ 1928813 w 2375535"/>
              <a:gd name="connsiteY11" fmla="*/ 1186815 h 2374582"/>
              <a:gd name="connsiteX12" fmla="*/ 2375535 w 2375535"/>
              <a:gd name="connsiteY12" fmla="*/ 741045 h 2374582"/>
              <a:gd name="connsiteX13" fmla="*/ 2206943 w 2375535"/>
              <a:gd name="connsiteY13" fmla="*/ 741045 h 2374582"/>
              <a:gd name="connsiteX14" fmla="*/ 1844040 w 2375535"/>
              <a:gd name="connsiteY14" fmla="*/ 1103948 h 2374582"/>
              <a:gd name="connsiteX15" fmla="*/ 1600200 w 2375535"/>
              <a:gd name="connsiteY15" fmla="*/ 860108 h 2374582"/>
              <a:gd name="connsiteX16" fmla="*/ 1963103 w 2375535"/>
              <a:gd name="connsiteY16" fmla="*/ 497205 h 2374582"/>
              <a:gd name="connsiteX17" fmla="*/ 2206943 w 2375535"/>
              <a:gd name="connsiteY17" fmla="*/ 741045 h 2374582"/>
              <a:gd name="connsiteX18" fmla="*/ 1616393 w 2375535"/>
              <a:gd name="connsiteY18" fmla="*/ 1043940 h 2374582"/>
              <a:gd name="connsiteX19" fmla="*/ 1557338 w 2375535"/>
              <a:gd name="connsiteY19" fmla="*/ 1102995 h 2374582"/>
              <a:gd name="connsiteX20" fmla="*/ 1271588 w 2375535"/>
              <a:gd name="connsiteY20" fmla="*/ 817245 h 2374582"/>
              <a:gd name="connsiteX21" fmla="*/ 1330643 w 2375535"/>
              <a:gd name="connsiteY21" fmla="*/ 758190 h 2374582"/>
              <a:gd name="connsiteX22" fmla="*/ 1616393 w 2375535"/>
              <a:gd name="connsiteY22" fmla="*/ 1043940 h 2374582"/>
              <a:gd name="connsiteX23" fmla="*/ 1187768 w 2375535"/>
              <a:gd name="connsiteY23" fmla="*/ 1102995 h 2374582"/>
              <a:gd name="connsiteX24" fmla="*/ 1086803 w 2375535"/>
              <a:gd name="connsiteY24" fmla="*/ 1002030 h 2374582"/>
              <a:gd name="connsiteX25" fmla="*/ 1187768 w 2375535"/>
              <a:gd name="connsiteY25" fmla="*/ 902018 h 2374582"/>
              <a:gd name="connsiteX26" fmla="*/ 1288733 w 2375535"/>
              <a:gd name="connsiteY26" fmla="*/ 1002983 h 2374582"/>
              <a:gd name="connsiteX27" fmla="*/ 1187768 w 2375535"/>
              <a:gd name="connsiteY27" fmla="*/ 1102995 h 2374582"/>
              <a:gd name="connsiteX28" fmla="*/ 1002983 w 2375535"/>
              <a:gd name="connsiteY28" fmla="*/ 1086803 h 2374582"/>
              <a:gd name="connsiteX29" fmla="*/ 1103948 w 2375535"/>
              <a:gd name="connsiteY29" fmla="*/ 1187768 h 2374582"/>
              <a:gd name="connsiteX30" fmla="*/ 1002983 w 2375535"/>
              <a:gd name="connsiteY30" fmla="*/ 1288733 h 2374582"/>
              <a:gd name="connsiteX31" fmla="*/ 902018 w 2375535"/>
              <a:gd name="connsiteY31" fmla="*/ 1187768 h 2374582"/>
              <a:gd name="connsiteX32" fmla="*/ 1002983 w 2375535"/>
              <a:gd name="connsiteY32" fmla="*/ 1086803 h 2374582"/>
              <a:gd name="connsiteX33" fmla="*/ 1187768 w 2375535"/>
              <a:gd name="connsiteY33" fmla="*/ 1271588 h 2374582"/>
              <a:gd name="connsiteX34" fmla="*/ 1288733 w 2375535"/>
              <a:gd name="connsiteY34" fmla="*/ 1372553 h 2374582"/>
              <a:gd name="connsiteX35" fmla="*/ 1187768 w 2375535"/>
              <a:gd name="connsiteY35" fmla="*/ 1473518 h 2374582"/>
              <a:gd name="connsiteX36" fmla="*/ 1086803 w 2375535"/>
              <a:gd name="connsiteY36" fmla="*/ 1372553 h 2374582"/>
              <a:gd name="connsiteX37" fmla="*/ 1187768 w 2375535"/>
              <a:gd name="connsiteY37" fmla="*/ 1271588 h 2374582"/>
              <a:gd name="connsiteX38" fmla="*/ 1372553 w 2375535"/>
              <a:gd name="connsiteY38" fmla="*/ 1287780 h 2374582"/>
              <a:gd name="connsiteX39" fmla="*/ 1271588 w 2375535"/>
              <a:gd name="connsiteY39" fmla="*/ 1186815 h 2374582"/>
              <a:gd name="connsiteX40" fmla="*/ 1372553 w 2375535"/>
              <a:gd name="connsiteY40" fmla="*/ 1085850 h 2374582"/>
              <a:gd name="connsiteX41" fmla="*/ 1473518 w 2375535"/>
              <a:gd name="connsiteY41" fmla="*/ 1186815 h 2374582"/>
              <a:gd name="connsiteX42" fmla="*/ 1372553 w 2375535"/>
              <a:gd name="connsiteY42" fmla="*/ 1287780 h 2374582"/>
              <a:gd name="connsiteX43" fmla="*/ 1187768 w 2375535"/>
              <a:gd name="connsiteY43" fmla="*/ 733425 h 2374582"/>
              <a:gd name="connsiteX44" fmla="*/ 1128713 w 2375535"/>
              <a:gd name="connsiteY44" fmla="*/ 674370 h 2374582"/>
              <a:gd name="connsiteX45" fmla="*/ 1187768 w 2375535"/>
              <a:gd name="connsiteY45" fmla="*/ 615315 h 2374582"/>
              <a:gd name="connsiteX46" fmla="*/ 1246823 w 2375535"/>
              <a:gd name="connsiteY46" fmla="*/ 674370 h 2374582"/>
              <a:gd name="connsiteX47" fmla="*/ 1187768 w 2375535"/>
              <a:gd name="connsiteY47" fmla="*/ 733425 h 2374582"/>
              <a:gd name="connsiteX48" fmla="*/ 1103948 w 2375535"/>
              <a:gd name="connsiteY48" fmla="*/ 817245 h 2374582"/>
              <a:gd name="connsiteX49" fmla="*/ 818198 w 2375535"/>
              <a:gd name="connsiteY49" fmla="*/ 1102995 h 2374582"/>
              <a:gd name="connsiteX50" fmla="*/ 759143 w 2375535"/>
              <a:gd name="connsiteY50" fmla="*/ 1043940 h 2374582"/>
              <a:gd name="connsiteX51" fmla="*/ 1044893 w 2375535"/>
              <a:gd name="connsiteY51" fmla="*/ 758190 h 2374582"/>
              <a:gd name="connsiteX52" fmla="*/ 1103948 w 2375535"/>
              <a:gd name="connsiteY52" fmla="*/ 817245 h 2374582"/>
              <a:gd name="connsiteX53" fmla="*/ 674370 w 2375535"/>
              <a:gd name="connsiteY53" fmla="*/ 1127760 h 2374582"/>
              <a:gd name="connsiteX54" fmla="*/ 733425 w 2375535"/>
              <a:gd name="connsiteY54" fmla="*/ 1186815 h 2374582"/>
              <a:gd name="connsiteX55" fmla="*/ 674370 w 2375535"/>
              <a:gd name="connsiteY55" fmla="*/ 1245870 h 2374582"/>
              <a:gd name="connsiteX56" fmla="*/ 615315 w 2375535"/>
              <a:gd name="connsiteY56" fmla="*/ 1186815 h 2374582"/>
              <a:gd name="connsiteX57" fmla="*/ 674370 w 2375535"/>
              <a:gd name="connsiteY57" fmla="*/ 1127760 h 2374582"/>
              <a:gd name="connsiteX58" fmla="*/ 759143 w 2375535"/>
              <a:gd name="connsiteY58" fmla="*/ 1330643 h 2374582"/>
              <a:gd name="connsiteX59" fmla="*/ 818198 w 2375535"/>
              <a:gd name="connsiteY59" fmla="*/ 1271588 h 2374582"/>
              <a:gd name="connsiteX60" fmla="*/ 1103948 w 2375535"/>
              <a:gd name="connsiteY60" fmla="*/ 1557338 h 2374582"/>
              <a:gd name="connsiteX61" fmla="*/ 1044893 w 2375535"/>
              <a:gd name="connsiteY61" fmla="*/ 1616393 h 2374582"/>
              <a:gd name="connsiteX62" fmla="*/ 759143 w 2375535"/>
              <a:gd name="connsiteY62" fmla="*/ 1330643 h 2374582"/>
              <a:gd name="connsiteX63" fmla="*/ 1187768 w 2375535"/>
              <a:gd name="connsiteY63" fmla="*/ 1641158 h 2374582"/>
              <a:gd name="connsiteX64" fmla="*/ 1246823 w 2375535"/>
              <a:gd name="connsiteY64" fmla="*/ 1700213 h 2374582"/>
              <a:gd name="connsiteX65" fmla="*/ 1187768 w 2375535"/>
              <a:gd name="connsiteY65" fmla="*/ 1759268 h 2374582"/>
              <a:gd name="connsiteX66" fmla="*/ 1128713 w 2375535"/>
              <a:gd name="connsiteY66" fmla="*/ 1700213 h 2374582"/>
              <a:gd name="connsiteX67" fmla="*/ 1187768 w 2375535"/>
              <a:gd name="connsiteY67" fmla="*/ 1641158 h 2374582"/>
              <a:gd name="connsiteX68" fmla="*/ 1271588 w 2375535"/>
              <a:gd name="connsiteY68" fmla="*/ 1556385 h 2374582"/>
              <a:gd name="connsiteX69" fmla="*/ 1557338 w 2375535"/>
              <a:gd name="connsiteY69" fmla="*/ 1270635 h 2374582"/>
              <a:gd name="connsiteX70" fmla="*/ 1616393 w 2375535"/>
              <a:gd name="connsiteY70" fmla="*/ 1329690 h 2374582"/>
              <a:gd name="connsiteX71" fmla="*/ 1330643 w 2375535"/>
              <a:gd name="connsiteY71" fmla="*/ 1615440 h 2374582"/>
              <a:gd name="connsiteX72" fmla="*/ 1271588 w 2375535"/>
              <a:gd name="connsiteY72" fmla="*/ 1556385 h 2374582"/>
              <a:gd name="connsiteX73" fmla="*/ 1701165 w 2375535"/>
              <a:gd name="connsiteY73" fmla="*/ 1246823 h 2374582"/>
              <a:gd name="connsiteX74" fmla="*/ 1642110 w 2375535"/>
              <a:gd name="connsiteY74" fmla="*/ 1187768 h 2374582"/>
              <a:gd name="connsiteX75" fmla="*/ 1701165 w 2375535"/>
              <a:gd name="connsiteY75" fmla="*/ 1128713 h 2374582"/>
              <a:gd name="connsiteX76" fmla="*/ 1760220 w 2375535"/>
              <a:gd name="connsiteY76" fmla="*/ 1187768 h 2374582"/>
              <a:gd name="connsiteX77" fmla="*/ 1701165 w 2375535"/>
              <a:gd name="connsiteY77" fmla="*/ 1246823 h 2374582"/>
              <a:gd name="connsiteX78" fmla="*/ 1634490 w 2375535"/>
              <a:gd name="connsiteY78" fmla="*/ 168593 h 2374582"/>
              <a:gd name="connsiteX79" fmla="*/ 1878330 w 2375535"/>
              <a:gd name="connsiteY79" fmla="*/ 412432 h 2374582"/>
              <a:gd name="connsiteX80" fmla="*/ 1515428 w 2375535"/>
              <a:gd name="connsiteY80" fmla="*/ 775335 h 2374582"/>
              <a:gd name="connsiteX81" fmla="*/ 1331595 w 2375535"/>
              <a:gd name="connsiteY81" fmla="*/ 589598 h 2374582"/>
              <a:gd name="connsiteX82" fmla="*/ 1331595 w 2375535"/>
              <a:gd name="connsiteY82" fmla="*/ 589598 h 2374582"/>
              <a:gd name="connsiteX83" fmla="*/ 1272540 w 2375535"/>
              <a:gd name="connsiteY83" fmla="*/ 530543 h 2374582"/>
              <a:gd name="connsiteX84" fmla="*/ 1634490 w 2375535"/>
              <a:gd name="connsiteY84" fmla="*/ 168593 h 2374582"/>
              <a:gd name="connsiteX85" fmla="*/ 741045 w 2375535"/>
              <a:gd name="connsiteY85" fmla="*/ 168593 h 2374582"/>
              <a:gd name="connsiteX86" fmla="*/ 1103948 w 2375535"/>
              <a:gd name="connsiteY86" fmla="*/ 530543 h 2374582"/>
              <a:gd name="connsiteX87" fmla="*/ 1044893 w 2375535"/>
              <a:gd name="connsiteY87" fmla="*/ 589598 h 2374582"/>
              <a:gd name="connsiteX88" fmla="*/ 1044893 w 2375535"/>
              <a:gd name="connsiteY88" fmla="*/ 589598 h 2374582"/>
              <a:gd name="connsiteX89" fmla="*/ 859155 w 2375535"/>
              <a:gd name="connsiteY89" fmla="*/ 774383 h 2374582"/>
              <a:gd name="connsiteX90" fmla="*/ 497205 w 2375535"/>
              <a:gd name="connsiteY90" fmla="*/ 412432 h 2374582"/>
              <a:gd name="connsiteX91" fmla="*/ 741045 w 2375535"/>
              <a:gd name="connsiteY91" fmla="*/ 168593 h 2374582"/>
              <a:gd name="connsiteX92" fmla="*/ 168593 w 2375535"/>
              <a:gd name="connsiteY92" fmla="*/ 741045 h 2374582"/>
              <a:gd name="connsiteX93" fmla="*/ 412433 w 2375535"/>
              <a:gd name="connsiteY93" fmla="*/ 497205 h 2374582"/>
              <a:gd name="connsiteX94" fmla="*/ 775335 w 2375535"/>
              <a:gd name="connsiteY94" fmla="*/ 860108 h 2374582"/>
              <a:gd name="connsiteX95" fmla="*/ 531495 w 2375535"/>
              <a:gd name="connsiteY95" fmla="*/ 1102995 h 2374582"/>
              <a:gd name="connsiteX96" fmla="*/ 168593 w 2375535"/>
              <a:gd name="connsiteY96" fmla="*/ 741045 h 2374582"/>
              <a:gd name="connsiteX97" fmla="*/ 168593 w 2375535"/>
              <a:gd name="connsiteY97" fmla="*/ 1633538 h 2374582"/>
              <a:gd name="connsiteX98" fmla="*/ 531495 w 2375535"/>
              <a:gd name="connsiteY98" fmla="*/ 1271588 h 2374582"/>
              <a:gd name="connsiteX99" fmla="*/ 775335 w 2375535"/>
              <a:gd name="connsiteY99" fmla="*/ 1515428 h 2374582"/>
              <a:gd name="connsiteX100" fmla="*/ 412433 w 2375535"/>
              <a:gd name="connsiteY100" fmla="*/ 1878330 h 2374582"/>
              <a:gd name="connsiteX101" fmla="*/ 168593 w 2375535"/>
              <a:gd name="connsiteY101" fmla="*/ 1633538 h 2374582"/>
              <a:gd name="connsiteX102" fmla="*/ 741045 w 2375535"/>
              <a:gd name="connsiteY102" fmla="*/ 2205990 h 2374582"/>
              <a:gd name="connsiteX103" fmla="*/ 497205 w 2375535"/>
              <a:gd name="connsiteY103" fmla="*/ 1962150 h 2374582"/>
              <a:gd name="connsiteX104" fmla="*/ 860108 w 2375535"/>
              <a:gd name="connsiteY104" fmla="*/ 1599248 h 2374582"/>
              <a:gd name="connsiteX105" fmla="*/ 1044893 w 2375535"/>
              <a:gd name="connsiteY105" fmla="*/ 1784033 h 2374582"/>
              <a:gd name="connsiteX106" fmla="*/ 1044893 w 2375535"/>
              <a:gd name="connsiteY106" fmla="*/ 1784033 h 2374582"/>
              <a:gd name="connsiteX107" fmla="*/ 1103948 w 2375535"/>
              <a:gd name="connsiteY107" fmla="*/ 1843088 h 2374582"/>
              <a:gd name="connsiteX108" fmla="*/ 741045 w 2375535"/>
              <a:gd name="connsiteY108" fmla="*/ 2205990 h 2374582"/>
              <a:gd name="connsiteX109" fmla="*/ 1634490 w 2375535"/>
              <a:gd name="connsiteY109" fmla="*/ 2205990 h 2374582"/>
              <a:gd name="connsiteX110" fmla="*/ 1271588 w 2375535"/>
              <a:gd name="connsiteY110" fmla="*/ 1843088 h 2374582"/>
              <a:gd name="connsiteX111" fmla="*/ 1330643 w 2375535"/>
              <a:gd name="connsiteY111" fmla="*/ 1784033 h 2374582"/>
              <a:gd name="connsiteX112" fmla="*/ 1330643 w 2375535"/>
              <a:gd name="connsiteY112" fmla="*/ 1784033 h 2374582"/>
              <a:gd name="connsiteX113" fmla="*/ 1515428 w 2375535"/>
              <a:gd name="connsiteY113" fmla="*/ 1599248 h 2374582"/>
              <a:gd name="connsiteX114" fmla="*/ 1878330 w 2375535"/>
              <a:gd name="connsiteY114" fmla="*/ 1962150 h 2374582"/>
              <a:gd name="connsiteX115" fmla="*/ 1634490 w 2375535"/>
              <a:gd name="connsiteY115" fmla="*/ 2205990 h 2374582"/>
              <a:gd name="connsiteX116" fmla="*/ 2206943 w 2375535"/>
              <a:gd name="connsiteY116" fmla="*/ 1633538 h 2374582"/>
              <a:gd name="connsiteX117" fmla="*/ 1963103 w 2375535"/>
              <a:gd name="connsiteY117" fmla="*/ 1877378 h 2374582"/>
              <a:gd name="connsiteX118" fmla="*/ 1600200 w 2375535"/>
              <a:gd name="connsiteY118" fmla="*/ 1514475 h 2374582"/>
              <a:gd name="connsiteX119" fmla="*/ 1844040 w 2375535"/>
              <a:gd name="connsiteY119" fmla="*/ 1270635 h 2374582"/>
              <a:gd name="connsiteX120" fmla="*/ 2206943 w 2375535"/>
              <a:gd name="connsiteY120" fmla="*/ 1633538 h 237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75535" h="2374582">
                <a:moveTo>
                  <a:pt x="2375535" y="741045"/>
                </a:moveTo>
                <a:lnTo>
                  <a:pt x="1634490" y="0"/>
                </a:lnTo>
                <a:lnTo>
                  <a:pt x="1187768" y="446723"/>
                </a:lnTo>
                <a:lnTo>
                  <a:pt x="741045" y="0"/>
                </a:lnTo>
                <a:lnTo>
                  <a:pt x="0" y="741045"/>
                </a:lnTo>
                <a:lnTo>
                  <a:pt x="446723" y="1187768"/>
                </a:lnTo>
                <a:lnTo>
                  <a:pt x="0" y="1633538"/>
                </a:lnTo>
                <a:lnTo>
                  <a:pt x="741045" y="2374583"/>
                </a:lnTo>
                <a:lnTo>
                  <a:pt x="1187768" y="1927860"/>
                </a:lnTo>
                <a:lnTo>
                  <a:pt x="1634490" y="2374583"/>
                </a:lnTo>
                <a:lnTo>
                  <a:pt x="2375535" y="1633538"/>
                </a:lnTo>
                <a:lnTo>
                  <a:pt x="1928813" y="1186815"/>
                </a:lnTo>
                <a:lnTo>
                  <a:pt x="2375535" y="741045"/>
                </a:lnTo>
                <a:close/>
                <a:moveTo>
                  <a:pt x="2206943" y="741045"/>
                </a:moveTo>
                <a:lnTo>
                  <a:pt x="1844040" y="1103948"/>
                </a:lnTo>
                <a:lnTo>
                  <a:pt x="1600200" y="860108"/>
                </a:lnTo>
                <a:lnTo>
                  <a:pt x="1963103" y="497205"/>
                </a:lnTo>
                <a:lnTo>
                  <a:pt x="2206943" y="741045"/>
                </a:lnTo>
                <a:close/>
                <a:moveTo>
                  <a:pt x="1616393" y="1043940"/>
                </a:moveTo>
                <a:lnTo>
                  <a:pt x="1557338" y="1102995"/>
                </a:lnTo>
                <a:lnTo>
                  <a:pt x="1271588" y="817245"/>
                </a:lnTo>
                <a:lnTo>
                  <a:pt x="1330643" y="758190"/>
                </a:lnTo>
                <a:lnTo>
                  <a:pt x="1616393" y="1043940"/>
                </a:lnTo>
                <a:close/>
                <a:moveTo>
                  <a:pt x="1187768" y="1102995"/>
                </a:moveTo>
                <a:lnTo>
                  <a:pt x="1086803" y="1002030"/>
                </a:lnTo>
                <a:lnTo>
                  <a:pt x="1187768" y="902018"/>
                </a:lnTo>
                <a:lnTo>
                  <a:pt x="1288733" y="1002983"/>
                </a:lnTo>
                <a:lnTo>
                  <a:pt x="1187768" y="1102995"/>
                </a:lnTo>
                <a:close/>
                <a:moveTo>
                  <a:pt x="1002983" y="1086803"/>
                </a:moveTo>
                <a:lnTo>
                  <a:pt x="1103948" y="1187768"/>
                </a:lnTo>
                <a:lnTo>
                  <a:pt x="1002983" y="1288733"/>
                </a:lnTo>
                <a:lnTo>
                  <a:pt x="902018" y="1187768"/>
                </a:lnTo>
                <a:lnTo>
                  <a:pt x="1002983" y="1086803"/>
                </a:lnTo>
                <a:close/>
                <a:moveTo>
                  <a:pt x="1187768" y="1271588"/>
                </a:moveTo>
                <a:lnTo>
                  <a:pt x="1288733" y="1372553"/>
                </a:lnTo>
                <a:lnTo>
                  <a:pt x="1187768" y="1473518"/>
                </a:lnTo>
                <a:lnTo>
                  <a:pt x="1086803" y="1372553"/>
                </a:lnTo>
                <a:lnTo>
                  <a:pt x="1187768" y="1271588"/>
                </a:lnTo>
                <a:close/>
                <a:moveTo>
                  <a:pt x="1372553" y="1287780"/>
                </a:moveTo>
                <a:lnTo>
                  <a:pt x="1271588" y="1186815"/>
                </a:lnTo>
                <a:lnTo>
                  <a:pt x="1372553" y="1085850"/>
                </a:lnTo>
                <a:lnTo>
                  <a:pt x="1473518" y="1186815"/>
                </a:lnTo>
                <a:lnTo>
                  <a:pt x="1372553" y="1287780"/>
                </a:lnTo>
                <a:close/>
                <a:moveTo>
                  <a:pt x="1187768" y="733425"/>
                </a:moveTo>
                <a:lnTo>
                  <a:pt x="1128713" y="674370"/>
                </a:lnTo>
                <a:lnTo>
                  <a:pt x="1187768" y="615315"/>
                </a:lnTo>
                <a:lnTo>
                  <a:pt x="1246823" y="674370"/>
                </a:lnTo>
                <a:lnTo>
                  <a:pt x="1187768" y="733425"/>
                </a:lnTo>
                <a:close/>
                <a:moveTo>
                  <a:pt x="1103948" y="817245"/>
                </a:moveTo>
                <a:lnTo>
                  <a:pt x="818198" y="1102995"/>
                </a:lnTo>
                <a:lnTo>
                  <a:pt x="759143" y="1043940"/>
                </a:lnTo>
                <a:lnTo>
                  <a:pt x="1044893" y="758190"/>
                </a:lnTo>
                <a:lnTo>
                  <a:pt x="1103948" y="817245"/>
                </a:lnTo>
                <a:close/>
                <a:moveTo>
                  <a:pt x="674370" y="1127760"/>
                </a:moveTo>
                <a:lnTo>
                  <a:pt x="733425" y="1186815"/>
                </a:lnTo>
                <a:lnTo>
                  <a:pt x="674370" y="1245870"/>
                </a:lnTo>
                <a:lnTo>
                  <a:pt x="615315" y="1186815"/>
                </a:lnTo>
                <a:lnTo>
                  <a:pt x="674370" y="1127760"/>
                </a:lnTo>
                <a:close/>
                <a:moveTo>
                  <a:pt x="759143" y="1330643"/>
                </a:moveTo>
                <a:lnTo>
                  <a:pt x="818198" y="1271588"/>
                </a:lnTo>
                <a:lnTo>
                  <a:pt x="1103948" y="1557338"/>
                </a:lnTo>
                <a:lnTo>
                  <a:pt x="1044893" y="1616393"/>
                </a:lnTo>
                <a:lnTo>
                  <a:pt x="759143" y="1330643"/>
                </a:lnTo>
                <a:close/>
                <a:moveTo>
                  <a:pt x="1187768" y="1641158"/>
                </a:moveTo>
                <a:lnTo>
                  <a:pt x="1246823" y="1700213"/>
                </a:lnTo>
                <a:lnTo>
                  <a:pt x="1187768" y="1759268"/>
                </a:lnTo>
                <a:lnTo>
                  <a:pt x="1128713" y="1700213"/>
                </a:lnTo>
                <a:lnTo>
                  <a:pt x="1187768" y="1641158"/>
                </a:lnTo>
                <a:close/>
                <a:moveTo>
                  <a:pt x="1271588" y="1556385"/>
                </a:moveTo>
                <a:lnTo>
                  <a:pt x="1557338" y="1270635"/>
                </a:lnTo>
                <a:lnTo>
                  <a:pt x="1616393" y="1329690"/>
                </a:lnTo>
                <a:lnTo>
                  <a:pt x="1330643" y="1615440"/>
                </a:lnTo>
                <a:lnTo>
                  <a:pt x="1271588" y="1556385"/>
                </a:lnTo>
                <a:close/>
                <a:moveTo>
                  <a:pt x="1701165" y="1246823"/>
                </a:moveTo>
                <a:lnTo>
                  <a:pt x="1642110" y="1187768"/>
                </a:lnTo>
                <a:lnTo>
                  <a:pt x="1701165" y="1128713"/>
                </a:lnTo>
                <a:lnTo>
                  <a:pt x="1760220" y="1187768"/>
                </a:lnTo>
                <a:lnTo>
                  <a:pt x="1701165" y="1246823"/>
                </a:lnTo>
                <a:close/>
                <a:moveTo>
                  <a:pt x="1634490" y="168593"/>
                </a:moveTo>
                <a:lnTo>
                  <a:pt x="1878330" y="412432"/>
                </a:lnTo>
                <a:lnTo>
                  <a:pt x="1515428" y="775335"/>
                </a:lnTo>
                <a:lnTo>
                  <a:pt x="1331595" y="589598"/>
                </a:lnTo>
                <a:lnTo>
                  <a:pt x="1331595" y="589598"/>
                </a:lnTo>
                <a:lnTo>
                  <a:pt x="1272540" y="530543"/>
                </a:lnTo>
                <a:lnTo>
                  <a:pt x="1634490" y="168593"/>
                </a:lnTo>
                <a:close/>
                <a:moveTo>
                  <a:pt x="741045" y="168593"/>
                </a:moveTo>
                <a:lnTo>
                  <a:pt x="1103948" y="530543"/>
                </a:lnTo>
                <a:lnTo>
                  <a:pt x="1044893" y="589598"/>
                </a:lnTo>
                <a:lnTo>
                  <a:pt x="1044893" y="589598"/>
                </a:lnTo>
                <a:lnTo>
                  <a:pt x="859155" y="774383"/>
                </a:lnTo>
                <a:lnTo>
                  <a:pt x="497205" y="412432"/>
                </a:lnTo>
                <a:lnTo>
                  <a:pt x="741045" y="168593"/>
                </a:lnTo>
                <a:close/>
                <a:moveTo>
                  <a:pt x="168593" y="741045"/>
                </a:moveTo>
                <a:lnTo>
                  <a:pt x="412433" y="497205"/>
                </a:lnTo>
                <a:lnTo>
                  <a:pt x="775335" y="860108"/>
                </a:lnTo>
                <a:lnTo>
                  <a:pt x="531495" y="1102995"/>
                </a:lnTo>
                <a:lnTo>
                  <a:pt x="168593" y="741045"/>
                </a:lnTo>
                <a:close/>
                <a:moveTo>
                  <a:pt x="168593" y="1633538"/>
                </a:moveTo>
                <a:lnTo>
                  <a:pt x="531495" y="1271588"/>
                </a:lnTo>
                <a:lnTo>
                  <a:pt x="775335" y="1515428"/>
                </a:lnTo>
                <a:lnTo>
                  <a:pt x="412433" y="1878330"/>
                </a:lnTo>
                <a:lnTo>
                  <a:pt x="168593" y="1633538"/>
                </a:lnTo>
                <a:close/>
                <a:moveTo>
                  <a:pt x="741045" y="2205990"/>
                </a:moveTo>
                <a:lnTo>
                  <a:pt x="497205" y="1962150"/>
                </a:lnTo>
                <a:lnTo>
                  <a:pt x="860108" y="1599248"/>
                </a:lnTo>
                <a:lnTo>
                  <a:pt x="1044893" y="1784033"/>
                </a:lnTo>
                <a:lnTo>
                  <a:pt x="1044893" y="1784033"/>
                </a:lnTo>
                <a:lnTo>
                  <a:pt x="1103948" y="1843088"/>
                </a:lnTo>
                <a:lnTo>
                  <a:pt x="741045" y="2205990"/>
                </a:lnTo>
                <a:close/>
                <a:moveTo>
                  <a:pt x="1634490" y="2205990"/>
                </a:moveTo>
                <a:lnTo>
                  <a:pt x="1271588" y="1843088"/>
                </a:lnTo>
                <a:lnTo>
                  <a:pt x="1330643" y="1784033"/>
                </a:lnTo>
                <a:lnTo>
                  <a:pt x="1330643" y="1784033"/>
                </a:lnTo>
                <a:lnTo>
                  <a:pt x="1515428" y="1599248"/>
                </a:lnTo>
                <a:lnTo>
                  <a:pt x="1878330" y="1962150"/>
                </a:lnTo>
                <a:lnTo>
                  <a:pt x="1634490" y="2205990"/>
                </a:lnTo>
                <a:close/>
                <a:moveTo>
                  <a:pt x="2206943" y="1633538"/>
                </a:moveTo>
                <a:lnTo>
                  <a:pt x="1963103" y="1877378"/>
                </a:lnTo>
                <a:lnTo>
                  <a:pt x="1600200" y="1514475"/>
                </a:lnTo>
                <a:lnTo>
                  <a:pt x="1844040" y="1270635"/>
                </a:lnTo>
                <a:lnTo>
                  <a:pt x="2206943" y="1633538"/>
                </a:lnTo>
                <a:close/>
              </a:path>
            </a:pathLst>
          </a:custGeom>
          <a:solidFill>
            <a:schemeClr val="bg1"/>
          </a:solidFill>
          <a:ln w="9525" cap="flat">
            <a:noFill/>
            <a:prstDash val="solid"/>
            <a:miter/>
          </a:ln>
        </p:spPr>
        <p:txBody>
          <a:bodyPr rtlCol="0" anchor="ctr"/>
          <a:lstStyle/>
          <a:p>
            <a:pPr rtl="0">
              <a:lnSpc>
                <a:spcPct val="100000"/>
              </a:lnSpc>
            </a:pPr>
            <a:endParaRPr lang="en-US">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8" name="Graphic 43">
            <a:extLst>
              <a:ext uri="{FF2B5EF4-FFF2-40B4-BE49-F238E27FC236}">
                <a16:creationId xmlns:a16="http://schemas.microsoft.com/office/drawing/2014/main" id="{A5492D73-0692-5B70-6B9B-B303D43BB388}"/>
              </a:ext>
            </a:extLst>
          </p:cNvPr>
          <p:cNvSpPr>
            <a:spLocks noChangeAspect="1"/>
          </p:cNvSpPr>
          <p:nvPr userDrawn="1"/>
        </p:nvSpPr>
        <p:spPr>
          <a:xfrm>
            <a:off x="552449" y="6227999"/>
            <a:ext cx="1440000" cy="396112"/>
          </a:xfrm>
          <a:custGeom>
            <a:avLst/>
            <a:gdLst>
              <a:gd name="connsiteX0" fmla="*/ 219924 w 2610377"/>
              <a:gd name="connsiteY0" fmla="*/ 234161 h 717496"/>
              <a:gd name="connsiteX1" fmla="*/ 308677 w 2610377"/>
              <a:gd name="connsiteY1" fmla="*/ 120016 h 717496"/>
              <a:gd name="connsiteX2" fmla="*/ 173590 w 2610377"/>
              <a:gd name="connsiteY2" fmla="*/ 0 h 717496"/>
              <a:gd name="connsiteX3" fmla="*/ 653 w 2610377"/>
              <a:gd name="connsiteY3" fmla="*/ 0 h 717496"/>
              <a:gd name="connsiteX4" fmla="*/ 653 w 2610377"/>
              <a:gd name="connsiteY4" fmla="*/ 404401 h 717496"/>
              <a:gd name="connsiteX5" fmla="*/ 49597 w 2610377"/>
              <a:gd name="connsiteY5" fmla="*/ 404401 h 717496"/>
              <a:gd name="connsiteX6" fmla="*/ 49597 w 2610377"/>
              <a:gd name="connsiteY6" fmla="*/ 240032 h 717496"/>
              <a:gd name="connsiteX7" fmla="*/ 167064 w 2610377"/>
              <a:gd name="connsiteY7" fmla="*/ 240032 h 717496"/>
              <a:gd name="connsiteX8" fmla="*/ 262343 w 2610377"/>
              <a:gd name="connsiteY8" fmla="*/ 404401 h 717496"/>
              <a:gd name="connsiteX9" fmla="*/ 320424 w 2610377"/>
              <a:gd name="connsiteY9" fmla="*/ 404401 h 717496"/>
              <a:gd name="connsiteX10" fmla="*/ 219924 w 2610377"/>
              <a:gd name="connsiteY10" fmla="*/ 234161 h 717496"/>
              <a:gd name="connsiteX11" fmla="*/ 49597 w 2610377"/>
              <a:gd name="connsiteY11" fmla="*/ 196330 h 717496"/>
              <a:gd name="connsiteX12" fmla="*/ 49597 w 2610377"/>
              <a:gd name="connsiteY12" fmla="*/ 45006 h 717496"/>
              <a:gd name="connsiteX13" fmla="*/ 170980 w 2610377"/>
              <a:gd name="connsiteY13" fmla="*/ 45006 h 717496"/>
              <a:gd name="connsiteX14" fmla="*/ 256470 w 2610377"/>
              <a:gd name="connsiteY14" fmla="*/ 120668 h 717496"/>
              <a:gd name="connsiteX15" fmla="*/ 170980 w 2610377"/>
              <a:gd name="connsiteY15" fmla="*/ 196983 h 717496"/>
              <a:gd name="connsiteX16" fmla="*/ 49597 w 2610377"/>
              <a:gd name="connsiteY16" fmla="*/ 196983 h 717496"/>
              <a:gd name="connsiteX17" fmla="*/ 1414825 w 2610377"/>
              <a:gd name="connsiteY17" fmla="*/ 652 h 717496"/>
              <a:gd name="connsiteX18" fmla="*/ 1465075 w 2610377"/>
              <a:gd name="connsiteY18" fmla="*/ 652 h 717496"/>
              <a:gd name="connsiteX19" fmla="*/ 1344997 w 2610377"/>
              <a:gd name="connsiteY19" fmla="*/ 405054 h 717496"/>
              <a:gd name="connsiteX20" fmla="*/ 1273212 w 2610377"/>
              <a:gd name="connsiteY20" fmla="*/ 405054 h 717496"/>
              <a:gd name="connsiteX21" fmla="*/ 1172712 w 2610377"/>
              <a:gd name="connsiteY21" fmla="*/ 75662 h 717496"/>
              <a:gd name="connsiteX22" fmla="*/ 1072213 w 2610377"/>
              <a:gd name="connsiteY22" fmla="*/ 405054 h 717496"/>
              <a:gd name="connsiteX23" fmla="*/ 1000427 w 2610377"/>
              <a:gd name="connsiteY23" fmla="*/ 405054 h 717496"/>
              <a:gd name="connsiteX24" fmla="*/ 880350 w 2610377"/>
              <a:gd name="connsiteY24" fmla="*/ 652 h 717496"/>
              <a:gd name="connsiteX25" fmla="*/ 930600 w 2610377"/>
              <a:gd name="connsiteY25" fmla="*/ 652 h 717496"/>
              <a:gd name="connsiteX26" fmla="*/ 1036973 w 2610377"/>
              <a:gd name="connsiteY26" fmla="*/ 354830 h 717496"/>
              <a:gd name="connsiteX27" fmla="*/ 1146609 w 2610377"/>
              <a:gd name="connsiteY27" fmla="*/ 3914 h 717496"/>
              <a:gd name="connsiteX28" fmla="*/ 1198816 w 2610377"/>
              <a:gd name="connsiteY28" fmla="*/ 3914 h 717496"/>
              <a:gd name="connsiteX29" fmla="*/ 1308452 w 2610377"/>
              <a:gd name="connsiteY29" fmla="*/ 354830 h 717496"/>
              <a:gd name="connsiteX30" fmla="*/ 1414825 w 2610377"/>
              <a:gd name="connsiteY30" fmla="*/ 652 h 717496"/>
              <a:gd name="connsiteX31" fmla="*/ 1621697 w 2610377"/>
              <a:gd name="connsiteY31" fmla="*/ 652 h 717496"/>
              <a:gd name="connsiteX32" fmla="*/ 1670642 w 2610377"/>
              <a:gd name="connsiteY32" fmla="*/ 652 h 717496"/>
              <a:gd name="connsiteX33" fmla="*/ 1670642 w 2610377"/>
              <a:gd name="connsiteY33" fmla="*/ 405054 h 717496"/>
              <a:gd name="connsiteX34" fmla="*/ 1621697 w 2610377"/>
              <a:gd name="connsiteY34" fmla="*/ 405054 h 717496"/>
              <a:gd name="connsiteX35" fmla="*/ 1621697 w 2610377"/>
              <a:gd name="connsiteY35" fmla="*/ 652 h 717496"/>
              <a:gd name="connsiteX36" fmla="*/ 752442 w 2610377"/>
              <a:gd name="connsiteY36" fmla="*/ 405054 h 717496"/>
              <a:gd name="connsiteX37" fmla="*/ 467910 w 2610377"/>
              <a:gd name="connsiteY37" fmla="*/ 405054 h 717496"/>
              <a:gd name="connsiteX38" fmla="*/ 467910 w 2610377"/>
              <a:gd name="connsiteY38" fmla="*/ 652 h 717496"/>
              <a:gd name="connsiteX39" fmla="*/ 745916 w 2610377"/>
              <a:gd name="connsiteY39" fmla="*/ 652 h 717496"/>
              <a:gd name="connsiteX40" fmla="*/ 745916 w 2610377"/>
              <a:gd name="connsiteY40" fmla="*/ 45006 h 717496"/>
              <a:gd name="connsiteX41" fmla="*/ 516855 w 2610377"/>
              <a:gd name="connsiteY41" fmla="*/ 45006 h 717496"/>
              <a:gd name="connsiteX42" fmla="*/ 516855 w 2610377"/>
              <a:gd name="connsiteY42" fmla="*/ 174806 h 717496"/>
              <a:gd name="connsiteX43" fmla="*/ 714591 w 2610377"/>
              <a:gd name="connsiteY43" fmla="*/ 174806 h 717496"/>
              <a:gd name="connsiteX44" fmla="*/ 714591 w 2610377"/>
              <a:gd name="connsiteY44" fmla="*/ 219159 h 717496"/>
              <a:gd name="connsiteX45" fmla="*/ 516855 w 2610377"/>
              <a:gd name="connsiteY45" fmla="*/ 219159 h 717496"/>
              <a:gd name="connsiteX46" fmla="*/ 516855 w 2610377"/>
              <a:gd name="connsiteY46" fmla="*/ 360048 h 717496"/>
              <a:gd name="connsiteX47" fmla="*/ 752442 w 2610377"/>
              <a:gd name="connsiteY47" fmla="*/ 360048 h 717496"/>
              <a:gd name="connsiteX48" fmla="*/ 752442 w 2610377"/>
              <a:gd name="connsiteY48" fmla="*/ 405054 h 717496"/>
              <a:gd name="connsiteX49" fmla="*/ 2077861 w 2610377"/>
              <a:gd name="connsiteY49" fmla="*/ 234161 h 717496"/>
              <a:gd name="connsiteX50" fmla="*/ 2166614 w 2610377"/>
              <a:gd name="connsiteY50" fmla="*/ 120016 h 717496"/>
              <a:gd name="connsiteX51" fmla="*/ 2031527 w 2610377"/>
              <a:gd name="connsiteY51" fmla="*/ 0 h 717496"/>
              <a:gd name="connsiteX52" fmla="*/ 1858589 w 2610377"/>
              <a:gd name="connsiteY52" fmla="*/ 0 h 717496"/>
              <a:gd name="connsiteX53" fmla="*/ 1858589 w 2610377"/>
              <a:gd name="connsiteY53" fmla="*/ 404401 h 717496"/>
              <a:gd name="connsiteX54" fmla="*/ 1907534 w 2610377"/>
              <a:gd name="connsiteY54" fmla="*/ 404401 h 717496"/>
              <a:gd name="connsiteX55" fmla="*/ 1907534 w 2610377"/>
              <a:gd name="connsiteY55" fmla="*/ 240032 h 717496"/>
              <a:gd name="connsiteX56" fmla="*/ 2025001 w 2610377"/>
              <a:gd name="connsiteY56" fmla="*/ 240032 h 717496"/>
              <a:gd name="connsiteX57" fmla="*/ 2120280 w 2610377"/>
              <a:gd name="connsiteY57" fmla="*/ 404401 h 717496"/>
              <a:gd name="connsiteX58" fmla="*/ 2178360 w 2610377"/>
              <a:gd name="connsiteY58" fmla="*/ 404401 h 717496"/>
              <a:gd name="connsiteX59" fmla="*/ 2077861 w 2610377"/>
              <a:gd name="connsiteY59" fmla="*/ 234161 h 717496"/>
              <a:gd name="connsiteX60" fmla="*/ 1907534 w 2610377"/>
              <a:gd name="connsiteY60" fmla="*/ 196330 h 717496"/>
              <a:gd name="connsiteX61" fmla="*/ 1907534 w 2610377"/>
              <a:gd name="connsiteY61" fmla="*/ 45006 h 717496"/>
              <a:gd name="connsiteX62" fmla="*/ 2029569 w 2610377"/>
              <a:gd name="connsiteY62" fmla="*/ 45006 h 717496"/>
              <a:gd name="connsiteX63" fmla="*/ 2115059 w 2610377"/>
              <a:gd name="connsiteY63" fmla="*/ 120668 h 717496"/>
              <a:gd name="connsiteX64" fmla="*/ 2029569 w 2610377"/>
              <a:gd name="connsiteY64" fmla="*/ 196983 h 717496"/>
              <a:gd name="connsiteX65" fmla="*/ 1907534 w 2610377"/>
              <a:gd name="connsiteY65" fmla="*/ 196983 h 717496"/>
              <a:gd name="connsiteX66" fmla="*/ 2610378 w 2610377"/>
              <a:gd name="connsiteY66" fmla="*/ 652 h 717496"/>
              <a:gd name="connsiteX67" fmla="*/ 2610378 w 2610377"/>
              <a:gd name="connsiteY67" fmla="*/ 405054 h 717496"/>
              <a:gd name="connsiteX68" fmla="*/ 2325847 w 2610377"/>
              <a:gd name="connsiteY68" fmla="*/ 405054 h 717496"/>
              <a:gd name="connsiteX69" fmla="*/ 2325847 w 2610377"/>
              <a:gd name="connsiteY69" fmla="*/ 360700 h 717496"/>
              <a:gd name="connsiteX70" fmla="*/ 2561433 w 2610377"/>
              <a:gd name="connsiteY70" fmla="*/ 360700 h 717496"/>
              <a:gd name="connsiteX71" fmla="*/ 2561433 w 2610377"/>
              <a:gd name="connsiteY71" fmla="*/ 219812 h 717496"/>
              <a:gd name="connsiteX72" fmla="*/ 2363697 w 2610377"/>
              <a:gd name="connsiteY72" fmla="*/ 219812 h 717496"/>
              <a:gd name="connsiteX73" fmla="*/ 2363697 w 2610377"/>
              <a:gd name="connsiteY73" fmla="*/ 175458 h 717496"/>
              <a:gd name="connsiteX74" fmla="*/ 2561433 w 2610377"/>
              <a:gd name="connsiteY74" fmla="*/ 175458 h 717496"/>
              <a:gd name="connsiteX75" fmla="*/ 2561433 w 2610377"/>
              <a:gd name="connsiteY75" fmla="*/ 45658 h 717496"/>
              <a:gd name="connsiteX76" fmla="*/ 2332373 w 2610377"/>
              <a:gd name="connsiteY76" fmla="*/ 45658 h 717496"/>
              <a:gd name="connsiteX77" fmla="*/ 2332373 w 2610377"/>
              <a:gd name="connsiteY77" fmla="*/ 1305 h 717496"/>
              <a:gd name="connsiteX78" fmla="*/ 2610378 w 2610377"/>
              <a:gd name="connsiteY78" fmla="*/ 1305 h 717496"/>
              <a:gd name="connsiteX79" fmla="*/ 29367 w 2610377"/>
              <a:gd name="connsiteY79" fmla="*/ 715530 h 717496"/>
              <a:gd name="connsiteX80" fmla="*/ 0 w 2610377"/>
              <a:gd name="connsiteY80" fmla="*/ 715530 h 717496"/>
              <a:gd name="connsiteX81" fmla="*/ 0 w 2610377"/>
              <a:gd name="connsiteY81" fmla="*/ 567466 h 717496"/>
              <a:gd name="connsiteX82" fmla="*/ 29367 w 2610377"/>
              <a:gd name="connsiteY82" fmla="*/ 567466 h 717496"/>
              <a:gd name="connsiteX83" fmla="*/ 29367 w 2610377"/>
              <a:gd name="connsiteY83" fmla="*/ 715530 h 717496"/>
              <a:gd name="connsiteX84" fmla="*/ 78964 w 2610377"/>
              <a:gd name="connsiteY84" fmla="*/ 567466 h 717496"/>
              <a:gd name="connsiteX85" fmla="*/ 110289 w 2610377"/>
              <a:gd name="connsiteY85" fmla="*/ 567466 h 717496"/>
              <a:gd name="connsiteX86" fmla="*/ 157928 w 2610377"/>
              <a:gd name="connsiteY86" fmla="*/ 665958 h 717496"/>
              <a:gd name="connsiteX87" fmla="*/ 205567 w 2610377"/>
              <a:gd name="connsiteY87" fmla="*/ 567466 h 717496"/>
              <a:gd name="connsiteX88" fmla="*/ 236892 w 2610377"/>
              <a:gd name="connsiteY88" fmla="*/ 567466 h 717496"/>
              <a:gd name="connsiteX89" fmla="*/ 236892 w 2610377"/>
              <a:gd name="connsiteY89" fmla="*/ 715530 h 717496"/>
              <a:gd name="connsiteX90" fmla="*/ 207525 w 2610377"/>
              <a:gd name="connsiteY90" fmla="*/ 715530 h 717496"/>
              <a:gd name="connsiteX91" fmla="*/ 207525 w 2610377"/>
              <a:gd name="connsiteY91" fmla="*/ 624865 h 717496"/>
              <a:gd name="connsiteX92" fmla="*/ 167717 w 2610377"/>
              <a:gd name="connsiteY92" fmla="*/ 705746 h 717496"/>
              <a:gd name="connsiteX93" fmla="*/ 148792 w 2610377"/>
              <a:gd name="connsiteY93" fmla="*/ 705746 h 717496"/>
              <a:gd name="connsiteX94" fmla="*/ 108983 w 2610377"/>
              <a:gd name="connsiteY94" fmla="*/ 624865 h 717496"/>
              <a:gd name="connsiteX95" fmla="*/ 108983 w 2610377"/>
              <a:gd name="connsiteY95" fmla="*/ 715530 h 717496"/>
              <a:gd name="connsiteX96" fmla="*/ 79617 w 2610377"/>
              <a:gd name="connsiteY96" fmla="*/ 715530 h 717496"/>
              <a:gd name="connsiteX97" fmla="*/ 79617 w 2610377"/>
              <a:gd name="connsiteY97" fmla="*/ 567466 h 717496"/>
              <a:gd name="connsiteX98" fmla="*/ 281921 w 2610377"/>
              <a:gd name="connsiteY98" fmla="*/ 715530 h 717496"/>
              <a:gd name="connsiteX99" fmla="*/ 281921 w 2610377"/>
              <a:gd name="connsiteY99" fmla="*/ 567466 h 717496"/>
              <a:gd name="connsiteX100" fmla="*/ 346528 w 2610377"/>
              <a:gd name="connsiteY100" fmla="*/ 567466 h 717496"/>
              <a:gd name="connsiteX101" fmla="*/ 399388 w 2610377"/>
              <a:gd name="connsiteY101" fmla="*/ 616386 h 717496"/>
              <a:gd name="connsiteX102" fmla="*/ 346528 w 2610377"/>
              <a:gd name="connsiteY102" fmla="*/ 664653 h 717496"/>
              <a:gd name="connsiteX103" fmla="*/ 311288 w 2610377"/>
              <a:gd name="connsiteY103" fmla="*/ 664653 h 717496"/>
              <a:gd name="connsiteX104" fmla="*/ 311288 w 2610377"/>
              <a:gd name="connsiteY104" fmla="*/ 715530 h 717496"/>
              <a:gd name="connsiteX105" fmla="*/ 281921 w 2610377"/>
              <a:gd name="connsiteY105" fmla="*/ 715530 h 717496"/>
              <a:gd name="connsiteX106" fmla="*/ 311288 w 2610377"/>
              <a:gd name="connsiteY106" fmla="*/ 639215 h 717496"/>
              <a:gd name="connsiteX107" fmla="*/ 344570 w 2610377"/>
              <a:gd name="connsiteY107" fmla="*/ 639215 h 717496"/>
              <a:gd name="connsiteX108" fmla="*/ 369369 w 2610377"/>
              <a:gd name="connsiteY108" fmla="*/ 616386 h 717496"/>
              <a:gd name="connsiteX109" fmla="*/ 344570 w 2610377"/>
              <a:gd name="connsiteY109" fmla="*/ 592905 h 717496"/>
              <a:gd name="connsiteX110" fmla="*/ 311288 w 2610377"/>
              <a:gd name="connsiteY110" fmla="*/ 592905 h 717496"/>
              <a:gd name="connsiteX111" fmla="*/ 311288 w 2610377"/>
              <a:gd name="connsiteY111" fmla="*/ 639215 h 717496"/>
              <a:gd name="connsiteX112" fmla="*/ 426144 w 2610377"/>
              <a:gd name="connsiteY112" fmla="*/ 641824 h 717496"/>
              <a:gd name="connsiteX113" fmla="*/ 503803 w 2610377"/>
              <a:gd name="connsiteY113" fmla="*/ 565510 h 717496"/>
              <a:gd name="connsiteX114" fmla="*/ 581462 w 2610377"/>
              <a:gd name="connsiteY114" fmla="*/ 641824 h 717496"/>
              <a:gd name="connsiteX115" fmla="*/ 503803 w 2610377"/>
              <a:gd name="connsiteY115" fmla="*/ 717486 h 717496"/>
              <a:gd name="connsiteX116" fmla="*/ 426144 w 2610377"/>
              <a:gd name="connsiteY116" fmla="*/ 641824 h 717496"/>
              <a:gd name="connsiteX117" fmla="*/ 503803 w 2610377"/>
              <a:gd name="connsiteY117" fmla="*/ 690744 h 717496"/>
              <a:gd name="connsiteX118" fmla="*/ 551442 w 2610377"/>
              <a:gd name="connsiteY118" fmla="*/ 641824 h 717496"/>
              <a:gd name="connsiteX119" fmla="*/ 503803 w 2610377"/>
              <a:gd name="connsiteY119" fmla="*/ 592905 h 717496"/>
              <a:gd name="connsiteX120" fmla="*/ 456164 w 2610377"/>
              <a:gd name="connsiteY120" fmla="*/ 641824 h 717496"/>
              <a:gd name="connsiteX121" fmla="*/ 503803 w 2610377"/>
              <a:gd name="connsiteY121" fmla="*/ 690744 h 717496"/>
              <a:gd name="connsiteX122" fmla="*/ 629754 w 2610377"/>
              <a:gd name="connsiteY122" fmla="*/ 667262 h 717496"/>
              <a:gd name="connsiteX123" fmla="*/ 667604 w 2610377"/>
              <a:gd name="connsiteY123" fmla="*/ 691396 h 717496"/>
              <a:gd name="connsiteX124" fmla="*/ 693055 w 2610377"/>
              <a:gd name="connsiteY124" fmla="*/ 675089 h 717496"/>
              <a:gd name="connsiteX125" fmla="*/ 664341 w 2610377"/>
              <a:gd name="connsiteY125" fmla="*/ 654217 h 717496"/>
              <a:gd name="connsiteX126" fmla="*/ 612786 w 2610377"/>
              <a:gd name="connsiteY126" fmla="*/ 607907 h 717496"/>
              <a:gd name="connsiteX127" fmla="*/ 664994 w 2610377"/>
              <a:gd name="connsiteY127" fmla="*/ 565510 h 717496"/>
              <a:gd name="connsiteX128" fmla="*/ 719812 w 2610377"/>
              <a:gd name="connsiteY128" fmla="*/ 597470 h 717496"/>
              <a:gd name="connsiteX129" fmla="*/ 696971 w 2610377"/>
              <a:gd name="connsiteY129" fmla="*/ 613777 h 717496"/>
              <a:gd name="connsiteX130" fmla="*/ 664341 w 2610377"/>
              <a:gd name="connsiteY130" fmla="*/ 592252 h 717496"/>
              <a:gd name="connsiteX131" fmla="*/ 642806 w 2610377"/>
              <a:gd name="connsiteY131" fmla="*/ 607907 h 717496"/>
              <a:gd name="connsiteX132" fmla="*/ 672172 w 2610377"/>
              <a:gd name="connsiteY132" fmla="*/ 628127 h 717496"/>
              <a:gd name="connsiteX133" fmla="*/ 723075 w 2610377"/>
              <a:gd name="connsiteY133" fmla="*/ 674437 h 717496"/>
              <a:gd name="connsiteX134" fmla="*/ 666952 w 2610377"/>
              <a:gd name="connsiteY134" fmla="*/ 717486 h 717496"/>
              <a:gd name="connsiteX135" fmla="*/ 607566 w 2610377"/>
              <a:gd name="connsiteY135" fmla="*/ 682264 h 717496"/>
              <a:gd name="connsiteX136" fmla="*/ 629754 w 2610377"/>
              <a:gd name="connsiteY136" fmla="*/ 667262 h 717496"/>
              <a:gd name="connsiteX137" fmla="*/ 770714 w 2610377"/>
              <a:gd name="connsiteY137" fmla="*/ 667262 h 717496"/>
              <a:gd name="connsiteX138" fmla="*/ 808565 w 2610377"/>
              <a:gd name="connsiteY138" fmla="*/ 691396 h 717496"/>
              <a:gd name="connsiteX139" fmla="*/ 834016 w 2610377"/>
              <a:gd name="connsiteY139" fmla="*/ 675089 h 717496"/>
              <a:gd name="connsiteX140" fmla="*/ 805302 w 2610377"/>
              <a:gd name="connsiteY140" fmla="*/ 654217 h 717496"/>
              <a:gd name="connsiteX141" fmla="*/ 753747 w 2610377"/>
              <a:gd name="connsiteY141" fmla="*/ 607907 h 717496"/>
              <a:gd name="connsiteX142" fmla="*/ 805954 w 2610377"/>
              <a:gd name="connsiteY142" fmla="*/ 565510 h 717496"/>
              <a:gd name="connsiteX143" fmla="*/ 860772 w 2610377"/>
              <a:gd name="connsiteY143" fmla="*/ 597470 h 717496"/>
              <a:gd name="connsiteX144" fmla="*/ 837931 w 2610377"/>
              <a:gd name="connsiteY144" fmla="*/ 613777 h 717496"/>
              <a:gd name="connsiteX145" fmla="*/ 805302 w 2610377"/>
              <a:gd name="connsiteY145" fmla="*/ 592252 h 717496"/>
              <a:gd name="connsiteX146" fmla="*/ 783766 w 2610377"/>
              <a:gd name="connsiteY146" fmla="*/ 607907 h 717496"/>
              <a:gd name="connsiteX147" fmla="*/ 813133 w 2610377"/>
              <a:gd name="connsiteY147" fmla="*/ 628127 h 717496"/>
              <a:gd name="connsiteX148" fmla="*/ 864035 w 2610377"/>
              <a:gd name="connsiteY148" fmla="*/ 674437 h 717496"/>
              <a:gd name="connsiteX149" fmla="*/ 807912 w 2610377"/>
              <a:gd name="connsiteY149" fmla="*/ 717486 h 717496"/>
              <a:gd name="connsiteX150" fmla="*/ 748526 w 2610377"/>
              <a:gd name="connsiteY150" fmla="*/ 682264 h 717496"/>
              <a:gd name="connsiteX151" fmla="*/ 770714 w 2610377"/>
              <a:gd name="connsiteY151" fmla="*/ 667262 h 717496"/>
              <a:gd name="connsiteX152" fmla="*/ 933863 w 2610377"/>
              <a:gd name="connsiteY152" fmla="*/ 715530 h 717496"/>
              <a:gd name="connsiteX153" fmla="*/ 904496 w 2610377"/>
              <a:gd name="connsiteY153" fmla="*/ 715530 h 717496"/>
              <a:gd name="connsiteX154" fmla="*/ 904496 w 2610377"/>
              <a:gd name="connsiteY154" fmla="*/ 567466 h 717496"/>
              <a:gd name="connsiteX155" fmla="*/ 933863 w 2610377"/>
              <a:gd name="connsiteY155" fmla="*/ 567466 h 717496"/>
              <a:gd name="connsiteX156" fmla="*/ 933863 w 2610377"/>
              <a:gd name="connsiteY156" fmla="*/ 715530 h 717496"/>
              <a:gd name="connsiteX157" fmla="*/ 978892 w 2610377"/>
              <a:gd name="connsiteY157" fmla="*/ 567466 h 717496"/>
              <a:gd name="connsiteX158" fmla="*/ 1047414 w 2610377"/>
              <a:gd name="connsiteY158" fmla="*/ 567466 h 717496"/>
              <a:gd name="connsiteX159" fmla="*/ 1093096 w 2610377"/>
              <a:gd name="connsiteY159" fmla="*/ 607907 h 717496"/>
              <a:gd name="connsiteX160" fmla="*/ 1073518 w 2610377"/>
              <a:gd name="connsiteY160" fmla="*/ 638563 h 717496"/>
              <a:gd name="connsiteX161" fmla="*/ 1098316 w 2610377"/>
              <a:gd name="connsiteY161" fmla="*/ 674437 h 717496"/>
              <a:gd name="connsiteX162" fmla="*/ 1051982 w 2610377"/>
              <a:gd name="connsiteY162" fmla="*/ 715530 h 717496"/>
              <a:gd name="connsiteX163" fmla="*/ 978892 w 2610377"/>
              <a:gd name="connsiteY163" fmla="*/ 715530 h 717496"/>
              <a:gd name="connsiteX164" fmla="*/ 978892 w 2610377"/>
              <a:gd name="connsiteY164" fmla="*/ 567466 h 717496"/>
              <a:gd name="connsiteX165" fmla="*/ 1008258 w 2610377"/>
              <a:gd name="connsiteY165" fmla="*/ 592905 h 717496"/>
              <a:gd name="connsiteX166" fmla="*/ 1008258 w 2610377"/>
              <a:gd name="connsiteY166" fmla="*/ 629431 h 717496"/>
              <a:gd name="connsiteX167" fmla="*/ 1042846 w 2610377"/>
              <a:gd name="connsiteY167" fmla="*/ 629431 h 717496"/>
              <a:gd name="connsiteX168" fmla="*/ 1062424 w 2610377"/>
              <a:gd name="connsiteY168" fmla="*/ 611820 h 717496"/>
              <a:gd name="connsiteX169" fmla="*/ 1042193 w 2610377"/>
              <a:gd name="connsiteY169" fmla="*/ 593557 h 717496"/>
              <a:gd name="connsiteX170" fmla="*/ 1008258 w 2610377"/>
              <a:gd name="connsiteY170" fmla="*/ 593557 h 717496"/>
              <a:gd name="connsiteX171" fmla="*/ 1008258 w 2610377"/>
              <a:gd name="connsiteY171" fmla="*/ 652260 h 717496"/>
              <a:gd name="connsiteX172" fmla="*/ 1008258 w 2610377"/>
              <a:gd name="connsiteY172" fmla="*/ 690744 h 717496"/>
              <a:gd name="connsiteX173" fmla="*/ 1046762 w 2610377"/>
              <a:gd name="connsiteY173" fmla="*/ 690744 h 717496"/>
              <a:gd name="connsiteX174" fmla="*/ 1066340 w 2610377"/>
              <a:gd name="connsiteY174" fmla="*/ 672480 h 717496"/>
              <a:gd name="connsiteX175" fmla="*/ 1046762 w 2610377"/>
              <a:gd name="connsiteY175" fmla="*/ 652260 h 717496"/>
              <a:gd name="connsiteX176" fmla="*/ 1008258 w 2610377"/>
              <a:gd name="connsiteY176" fmla="*/ 652260 h 717496"/>
              <a:gd name="connsiteX177" fmla="*/ 1247108 w 2610377"/>
              <a:gd name="connsiteY177" fmla="*/ 715530 h 717496"/>
              <a:gd name="connsiteX178" fmla="*/ 1137472 w 2610377"/>
              <a:gd name="connsiteY178" fmla="*/ 715530 h 717496"/>
              <a:gd name="connsiteX179" fmla="*/ 1137472 w 2610377"/>
              <a:gd name="connsiteY179" fmla="*/ 567466 h 717496"/>
              <a:gd name="connsiteX180" fmla="*/ 1166839 w 2610377"/>
              <a:gd name="connsiteY180" fmla="*/ 567466 h 717496"/>
              <a:gd name="connsiteX181" fmla="*/ 1166839 w 2610377"/>
              <a:gd name="connsiteY181" fmla="*/ 690091 h 717496"/>
              <a:gd name="connsiteX182" fmla="*/ 1246455 w 2610377"/>
              <a:gd name="connsiteY182" fmla="*/ 690091 h 717496"/>
              <a:gd name="connsiteX183" fmla="*/ 1246455 w 2610377"/>
              <a:gd name="connsiteY183" fmla="*/ 715530 h 717496"/>
              <a:gd name="connsiteX184" fmla="*/ 1281043 w 2610377"/>
              <a:gd name="connsiteY184" fmla="*/ 567466 h 717496"/>
              <a:gd name="connsiteX185" fmla="*/ 1386763 w 2610377"/>
              <a:gd name="connsiteY185" fmla="*/ 567466 h 717496"/>
              <a:gd name="connsiteX186" fmla="*/ 1386763 w 2610377"/>
              <a:gd name="connsiteY186" fmla="*/ 592905 h 717496"/>
              <a:gd name="connsiteX187" fmla="*/ 1311062 w 2610377"/>
              <a:gd name="connsiteY187" fmla="*/ 592905 h 717496"/>
              <a:gd name="connsiteX188" fmla="*/ 1311062 w 2610377"/>
              <a:gd name="connsiteY188" fmla="*/ 626822 h 717496"/>
              <a:gd name="connsiteX189" fmla="*/ 1376974 w 2610377"/>
              <a:gd name="connsiteY189" fmla="*/ 626822 h 717496"/>
              <a:gd name="connsiteX190" fmla="*/ 1376974 w 2610377"/>
              <a:gd name="connsiteY190" fmla="*/ 652260 h 717496"/>
              <a:gd name="connsiteX191" fmla="*/ 1311062 w 2610377"/>
              <a:gd name="connsiteY191" fmla="*/ 652260 h 717496"/>
              <a:gd name="connsiteX192" fmla="*/ 1311062 w 2610377"/>
              <a:gd name="connsiteY192" fmla="*/ 690091 h 717496"/>
              <a:gd name="connsiteX193" fmla="*/ 1388721 w 2610377"/>
              <a:gd name="connsiteY193" fmla="*/ 690091 h 717496"/>
              <a:gd name="connsiteX194" fmla="*/ 1388721 w 2610377"/>
              <a:gd name="connsiteY194" fmla="*/ 715530 h 717496"/>
              <a:gd name="connsiteX195" fmla="*/ 1281696 w 2610377"/>
              <a:gd name="connsiteY195" fmla="*/ 715530 h 717496"/>
              <a:gd name="connsiteX196" fmla="*/ 1281696 w 2610377"/>
              <a:gd name="connsiteY196" fmla="*/ 567466 h 717496"/>
              <a:gd name="connsiteX197" fmla="*/ 1504230 w 2610377"/>
              <a:gd name="connsiteY197" fmla="*/ 715530 h 717496"/>
              <a:gd name="connsiteX198" fmla="*/ 1504230 w 2610377"/>
              <a:gd name="connsiteY198" fmla="*/ 567466 h 717496"/>
              <a:gd name="connsiteX199" fmla="*/ 1530987 w 2610377"/>
              <a:gd name="connsiteY199" fmla="*/ 567466 h 717496"/>
              <a:gd name="connsiteX200" fmla="*/ 1613214 w 2610377"/>
              <a:gd name="connsiteY200" fmla="*/ 669219 h 717496"/>
              <a:gd name="connsiteX201" fmla="*/ 1613214 w 2610377"/>
              <a:gd name="connsiteY201" fmla="*/ 567466 h 717496"/>
              <a:gd name="connsiteX202" fmla="*/ 1642580 w 2610377"/>
              <a:gd name="connsiteY202" fmla="*/ 567466 h 717496"/>
              <a:gd name="connsiteX203" fmla="*/ 1642580 w 2610377"/>
              <a:gd name="connsiteY203" fmla="*/ 715530 h 717496"/>
              <a:gd name="connsiteX204" fmla="*/ 1615171 w 2610377"/>
              <a:gd name="connsiteY204" fmla="*/ 715530 h 717496"/>
              <a:gd name="connsiteX205" fmla="*/ 1533597 w 2610377"/>
              <a:gd name="connsiteY205" fmla="*/ 615081 h 717496"/>
              <a:gd name="connsiteX206" fmla="*/ 1533597 w 2610377"/>
              <a:gd name="connsiteY206" fmla="*/ 715530 h 717496"/>
              <a:gd name="connsiteX207" fmla="*/ 1504230 w 2610377"/>
              <a:gd name="connsiteY207" fmla="*/ 715530 h 717496"/>
              <a:gd name="connsiteX208" fmla="*/ 1682388 w 2610377"/>
              <a:gd name="connsiteY208" fmla="*/ 641824 h 717496"/>
              <a:gd name="connsiteX209" fmla="*/ 1760047 w 2610377"/>
              <a:gd name="connsiteY209" fmla="*/ 565510 h 717496"/>
              <a:gd name="connsiteX210" fmla="*/ 1837706 w 2610377"/>
              <a:gd name="connsiteY210" fmla="*/ 641824 h 717496"/>
              <a:gd name="connsiteX211" fmla="*/ 1760047 w 2610377"/>
              <a:gd name="connsiteY211" fmla="*/ 717486 h 717496"/>
              <a:gd name="connsiteX212" fmla="*/ 1682388 w 2610377"/>
              <a:gd name="connsiteY212" fmla="*/ 641824 h 717496"/>
              <a:gd name="connsiteX213" fmla="*/ 1760047 w 2610377"/>
              <a:gd name="connsiteY213" fmla="*/ 690744 h 717496"/>
              <a:gd name="connsiteX214" fmla="*/ 1807687 w 2610377"/>
              <a:gd name="connsiteY214" fmla="*/ 641824 h 717496"/>
              <a:gd name="connsiteX215" fmla="*/ 1760047 w 2610377"/>
              <a:gd name="connsiteY215" fmla="*/ 592905 h 717496"/>
              <a:gd name="connsiteX216" fmla="*/ 1712408 w 2610377"/>
              <a:gd name="connsiteY216" fmla="*/ 641824 h 717496"/>
              <a:gd name="connsiteX217" fmla="*/ 1760047 w 2610377"/>
              <a:gd name="connsiteY217" fmla="*/ 690744 h 717496"/>
              <a:gd name="connsiteX218" fmla="*/ 1954520 w 2610377"/>
              <a:gd name="connsiteY218" fmla="*/ 567466 h 717496"/>
              <a:gd name="connsiteX219" fmla="*/ 1985845 w 2610377"/>
              <a:gd name="connsiteY219" fmla="*/ 567466 h 717496"/>
              <a:gd name="connsiteX220" fmla="*/ 2033485 w 2610377"/>
              <a:gd name="connsiteY220" fmla="*/ 665958 h 717496"/>
              <a:gd name="connsiteX221" fmla="*/ 2081124 w 2610377"/>
              <a:gd name="connsiteY221" fmla="*/ 567466 h 717496"/>
              <a:gd name="connsiteX222" fmla="*/ 2112448 w 2610377"/>
              <a:gd name="connsiteY222" fmla="*/ 567466 h 717496"/>
              <a:gd name="connsiteX223" fmla="*/ 2112448 w 2610377"/>
              <a:gd name="connsiteY223" fmla="*/ 715530 h 717496"/>
              <a:gd name="connsiteX224" fmla="*/ 2083082 w 2610377"/>
              <a:gd name="connsiteY224" fmla="*/ 715530 h 717496"/>
              <a:gd name="connsiteX225" fmla="*/ 2083082 w 2610377"/>
              <a:gd name="connsiteY225" fmla="*/ 624865 h 717496"/>
              <a:gd name="connsiteX226" fmla="*/ 2043274 w 2610377"/>
              <a:gd name="connsiteY226" fmla="*/ 705746 h 717496"/>
              <a:gd name="connsiteX227" fmla="*/ 2024348 w 2610377"/>
              <a:gd name="connsiteY227" fmla="*/ 705746 h 717496"/>
              <a:gd name="connsiteX228" fmla="*/ 1984540 w 2610377"/>
              <a:gd name="connsiteY228" fmla="*/ 624865 h 717496"/>
              <a:gd name="connsiteX229" fmla="*/ 1984540 w 2610377"/>
              <a:gd name="connsiteY229" fmla="*/ 715530 h 717496"/>
              <a:gd name="connsiteX230" fmla="*/ 1955173 w 2610377"/>
              <a:gd name="connsiteY230" fmla="*/ 715530 h 717496"/>
              <a:gd name="connsiteX231" fmla="*/ 1955173 w 2610377"/>
              <a:gd name="connsiteY231" fmla="*/ 567466 h 717496"/>
              <a:gd name="connsiteX232" fmla="*/ 2152257 w 2610377"/>
              <a:gd name="connsiteY232" fmla="*/ 641824 h 717496"/>
              <a:gd name="connsiteX233" fmla="*/ 2229915 w 2610377"/>
              <a:gd name="connsiteY233" fmla="*/ 565510 h 717496"/>
              <a:gd name="connsiteX234" fmla="*/ 2307574 w 2610377"/>
              <a:gd name="connsiteY234" fmla="*/ 641824 h 717496"/>
              <a:gd name="connsiteX235" fmla="*/ 2229915 w 2610377"/>
              <a:gd name="connsiteY235" fmla="*/ 717486 h 717496"/>
              <a:gd name="connsiteX236" fmla="*/ 2152257 w 2610377"/>
              <a:gd name="connsiteY236" fmla="*/ 641824 h 717496"/>
              <a:gd name="connsiteX237" fmla="*/ 2229915 w 2610377"/>
              <a:gd name="connsiteY237" fmla="*/ 690744 h 717496"/>
              <a:gd name="connsiteX238" fmla="*/ 2277555 w 2610377"/>
              <a:gd name="connsiteY238" fmla="*/ 641824 h 717496"/>
              <a:gd name="connsiteX239" fmla="*/ 2229915 w 2610377"/>
              <a:gd name="connsiteY239" fmla="*/ 592905 h 717496"/>
              <a:gd name="connsiteX240" fmla="*/ 2182276 w 2610377"/>
              <a:gd name="connsiteY240" fmla="*/ 641824 h 717496"/>
              <a:gd name="connsiteX241" fmla="*/ 2229915 w 2610377"/>
              <a:gd name="connsiteY241" fmla="*/ 690744 h 717496"/>
              <a:gd name="connsiteX242" fmla="*/ 2342814 w 2610377"/>
              <a:gd name="connsiteY242" fmla="*/ 715530 h 717496"/>
              <a:gd name="connsiteX243" fmla="*/ 2342814 w 2610377"/>
              <a:gd name="connsiteY243" fmla="*/ 567466 h 717496"/>
              <a:gd name="connsiteX244" fmla="*/ 2408074 w 2610377"/>
              <a:gd name="connsiteY244" fmla="*/ 567466 h 717496"/>
              <a:gd name="connsiteX245" fmla="*/ 2460934 w 2610377"/>
              <a:gd name="connsiteY245" fmla="*/ 615081 h 717496"/>
              <a:gd name="connsiteX246" fmla="*/ 2433525 w 2610377"/>
              <a:gd name="connsiteY246" fmla="*/ 656826 h 717496"/>
              <a:gd name="connsiteX247" fmla="*/ 2466807 w 2610377"/>
              <a:gd name="connsiteY247" fmla="*/ 715530 h 717496"/>
              <a:gd name="connsiteX248" fmla="*/ 2434177 w 2610377"/>
              <a:gd name="connsiteY248" fmla="*/ 715530 h 717496"/>
              <a:gd name="connsiteX249" fmla="*/ 2404158 w 2610377"/>
              <a:gd name="connsiteY249" fmla="*/ 661392 h 717496"/>
              <a:gd name="connsiteX250" fmla="*/ 2372181 w 2610377"/>
              <a:gd name="connsiteY250" fmla="*/ 661392 h 717496"/>
              <a:gd name="connsiteX251" fmla="*/ 2372181 w 2610377"/>
              <a:gd name="connsiteY251" fmla="*/ 714877 h 717496"/>
              <a:gd name="connsiteX252" fmla="*/ 2342814 w 2610377"/>
              <a:gd name="connsiteY252" fmla="*/ 714877 h 717496"/>
              <a:gd name="connsiteX253" fmla="*/ 2372181 w 2610377"/>
              <a:gd name="connsiteY253" fmla="*/ 635954 h 717496"/>
              <a:gd name="connsiteX254" fmla="*/ 2406116 w 2610377"/>
              <a:gd name="connsiteY254" fmla="*/ 635954 h 717496"/>
              <a:gd name="connsiteX255" fmla="*/ 2430914 w 2610377"/>
              <a:gd name="connsiteY255" fmla="*/ 615081 h 717496"/>
              <a:gd name="connsiteX256" fmla="*/ 2406116 w 2610377"/>
              <a:gd name="connsiteY256" fmla="*/ 592905 h 717496"/>
              <a:gd name="connsiteX257" fmla="*/ 2372181 w 2610377"/>
              <a:gd name="connsiteY257" fmla="*/ 592905 h 717496"/>
              <a:gd name="connsiteX258" fmla="*/ 2372181 w 2610377"/>
              <a:gd name="connsiteY258" fmla="*/ 635954 h 717496"/>
              <a:gd name="connsiteX259" fmla="*/ 2503353 w 2610377"/>
              <a:gd name="connsiteY259" fmla="*/ 567466 h 717496"/>
              <a:gd name="connsiteX260" fmla="*/ 2609073 w 2610377"/>
              <a:gd name="connsiteY260" fmla="*/ 567466 h 717496"/>
              <a:gd name="connsiteX261" fmla="*/ 2609073 w 2610377"/>
              <a:gd name="connsiteY261" fmla="*/ 592905 h 717496"/>
              <a:gd name="connsiteX262" fmla="*/ 2533372 w 2610377"/>
              <a:gd name="connsiteY262" fmla="*/ 592905 h 717496"/>
              <a:gd name="connsiteX263" fmla="*/ 2533372 w 2610377"/>
              <a:gd name="connsiteY263" fmla="*/ 626822 h 717496"/>
              <a:gd name="connsiteX264" fmla="*/ 2598631 w 2610377"/>
              <a:gd name="connsiteY264" fmla="*/ 626822 h 717496"/>
              <a:gd name="connsiteX265" fmla="*/ 2598631 w 2610377"/>
              <a:gd name="connsiteY265" fmla="*/ 652260 h 717496"/>
              <a:gd name="connsiteX266" fmla="*/ 2532719 w 2610377"/>
              <a:gd name="connsiteY266" fmla="*/ 652260 h 717496"/>
              <a:gd name="connsiteX267" fmla="*/ 2532719 w 2610377"/>
              <a:gd name="connsiteY267" fmla="*/ 690091 h 717496"/>
              <a:gd name="connsiteX268" fmla="*/ 2610378 w 2610377"/>
              <a:gd name="connsiteY268" fmla="*/ 690091 h 717496"/>
              <a:gd name="connsiteX269" fmla="*/ 2610378 w 2610377"/>
              <a:gd name="connsiteY269" fmla="*/ 715530 h 717496"/>
              <a:gd name="connsiteX270" fmla="*/ 2503353 w 2610377"/>
              <a:gd name="connsiteY270" fmla="*/ 715530 h 717496"/>
              <a:gd name="connsiteX271" fmla="*/ 2503353 w 2610377"/>
              <a:gd name="connsiteY271" fmla="*/ 567466 h 71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610377" h="717496">
                <a:moveTo>
                  <a:pt x="219924" y="234161"/>
                </a:moveTo>
                <a:cubicBezTo>
                  <a:pt x="274742" y="219812"/>
                  <a:pt x="308677" y="178067"/>
                  <a:pt x="308677" y="120016"/>
                </a:cubicBezTo>
                <a:cubicBezTo>
                  <a:pt x="308677" y="46311"/>
                  <a:pt x="255164" y="0"/>
                  <a:pt x="173590" y="0"/>
                </a:cubicBezTo>
                <a:lnTo>
                  <a:pt x="653" y="0"/>
                </a:lnTo>
                <a:lnTo>
                  <a:pt x="653" y="404401"/>
                </a:lnTo>
                <a:lnTo>
                  <a:pt x="49597" y="404401"/>
                </a:lnTo>
                <a:lnTo>
                  <a:pt x="49597" y="240032"/>
                </a:lnTo>
                <a:lnTo>
                  <a:pt x="167064" y="240032"/>
                </a:lnTo>
                <a:lnTo>
                  <a:pt x="262343" y="404401"/>
                </a:lnTo>
                <a:lnTo>
                  <a:pt x="320424" y="404401"/>
                </a:lnTo>
                <a:lnTo>
                  <a:pt x="219924" y="234161"/>
                </a:lnTo>
                <a:close/>
                <a:moveTo>
                  <a:pt x="49597" y="196330"/>
                </a:moveTo>
                <a:lnTo>
                  <a:pt x="49597" y="45006"/>
                </a:lnTo>
                <a:lnTo>
                  <a:pt x="170980" y="45006"/>
                </a:lnTo>
                <a:cubicBezTo>
                  <a:pt x="227756" y="45006"/>
                  <a:pt x="256470" y="73705"/>
                  <a:pt x="256470" y="120668"/>
                </a:cubicBezTo>
                <a:cubicBezTo>
                  <a:pt x="256470" y="166326"/>
                  <a:pt x="227103" y="196983"/>
                  <a:pt x="170980" y="196983"/>
                </a:cubicBezTo>
                <a:lnTo>
                  <a:pt x="49597" y="196983"/>
                </a:lnTo>
                <a:close/>
                <a:moveTo>
                  <a:pt x="1414825" y="652"/>
                </a:moveTo>
                <a:lnTo>
                  <a:pt x="1465075" y="652"/>
                </a:lnTo>
                <a:lnTo>
                  <a:pt x="1344997" y="405054"/>
                </a:lnTo>
                <a:lnTo>
                  <a:pt x="1273212" y="405054"/>
                </a:lnTo>
                <a:lnTo>
                  <a:pt x="1172712" y="75662"/>
                </a:lnTo>
                <a:lnTo>
                  <a:pt x="1072213" y="405054"/>
                </a:lnTo>
                <a:lnTo>
                  <a:pt x="1000427" y="405054"/>
                </a:lnTo>
                <a:lnTo>
                  <a:pt x="880350" y="652"/>
                </a:lnTo>
                <a:lnTo>
                  <a:pt x="930600" y="652"/>
                </a:lnTo>
                <a:lnTo>
                  <a:pt x="1036973" y="354830"/>
                </a:lnTo>
                <a:lnTo>
                  <a:pt x="1146609" y="3914"/>
                </a:lnTo>
                <a:lnTo>
                  <a:pt x="1198816" y="3914"/>
                </a:lnTo>
                <a:lnTo>
                  <a:pt x="1308452" y="354830"/>
                </a:lnTo>
                <a:lnTo>
                  <a:pt x="1414825" y="652"/>
                </a:lnTo>
                <a:close/>
                <a:moveTo>
                  <a:pt x="1621697" y="652"/>
                </a:moveTo>
                <a:lnTo>
                  <a:pt x="1670642" y="652"/>
                </a:lnTo>
                <a:lnTo>
                  <a:pt x="1670642" y="405054"/>
                </a:lnTo>
                <a:lnTo>
                  <a:pt x="1621697" y="405054"/>
                </a:lnTo>
                <a:lnTo>
                  <a:pt x="1621697" y="652"/>
                </a:lnTo>
                <a:close/>
                <a:moveTo>
                  <a:pt x="752442" y="405054"/>
                </a:moveTo>
                <a:lnTo>
                  <a:pt x="467910" y="405054"/>
                </a:lnTo>
                <a:lnTo>
                  <a:pt x="467910" y="652"/>
                </a:lnTo>
                <a:lnTo>
                  <a:pt x="745916" y="652"/>
                </a:lnTo>
                <a:lnTo>
                  <a:pt x="745916" y="45006"/>
                </a:lnTo>
                <a:lnTo>
                  <a:pt x="516855" y="45006"/>
                </a:lnTo>
                <a:lnTo>
                  <a:pt x="516855" y="174806"/>
                </a:lnTo>
                <a:lnTo>
                  <a:pt x="714591" y="174806"/>
                </a:lnTo>
                <a:lnTo>
                  <a:pt x="714591" y="219159"/>
                </a:lnTo>
                <a:lnTo>
                  <a:pt x="516855" y="219159"/>
                </a:lnTo>
                <a:lnTo>
                  <a:pt x="516855" y="360048"/>
                </a:lnTo>
                <a:lnTo>
                  <a:pt x="752442" y="360048"/>
                </a:lnTo>
                <a:lnTo>
                  <a:pt x="752442" y="405054"/>
                </a:lnTo>
                <a:close/>
                <a:moveTo>
                  <a:pt x="2077861" y="234161"/>
                </a:moveTo>
                <a:cubicBezTo>
                  <a:pt x="2132679" y="219812"/>
                  <a:pt x="2166614" y="178067"/>
                  <a:pt x="2166614" y="120016"/>
                </a:cubicBezTo>
                <a:cubicBezTo>
                  <a:pt x="2166614" y="46311"/>
                  <a:pt x="2113101" y="0"/>
                  <a:pt x="2031527" y="0"/>
                </a:cubicBezTo>
                <a:lnTo>
                  <a:pt x="1858589" y="0"/>
                </a:lnTo>
                <a:lnTo>
                  <a:pt x="1858589" y="404401"/>
                </a:lnTo>
                <a:lnTo>
                  <a:pt x="1907534" y="404401"/>
                </a:lnTo>
                <a:lnTo>
                  <a:pt x="1907534" y="240032"/>
                </a:lnTo>
                <a:lnTo>
                  <a:pt x="2025001" y="240032"/>
                </a:lnTo>
                <a:lnTo>
                  <a:pt x="2120280" y="404401"/>
                </a:lnTo>
                <a:lnTo>
                  <a:pt x="2178360" y="404401"/>
                </a:lnTo>
                <a:lnTo>
                  <a:pt x="2077861" y="234161"/>
                </a:lnTo>
                <a:close/>
                <a:moveTo>
                  <a:pt x="1907534" y="196330"/>
                </a:moveTo>
                <a:lnTo>
                  <a:pt x="1907534" y="45006"/>
                </a:lnTo>
                <a:lnTo>
                  <a:pt x="2029569" y="45006"/>
                </a:lnTo>
                <a:cubicBezTo>
                  <a:pt x="2086345" y="45006"/>
                  <a:pt x="2115059" y="73705"/>
                  <a:pt x="2115059" y="120668"/>
                </a:cubicBezTo>
                <a:cubicBezTo>
                  <a:pt x="2115059" y="166326"/>
                  <a:pt x="2085692" y="196983"/>
                  <a:pt x="2029569" y="196983"/>
                </a:cubicBezTo>
                <a:lnTo>
                  <a:pt x="1907534" y="196983"/>
                </a:lnTo>
                <a:close/>
                <a:moveTo>
                  <a:pt x="2610378" y="652"/>
                </a:moveTo>
                <a:lnTo>
                  <a:pt x="2610378" y="405054"/>
                </a:lnTo>
                <a:lnTo>
                  <a:pt x="2325847" y="405054"/>
                </a:lnTo>
                <a:lnTo>
                  <a:pt x="2325847" y="360700"/>
                </a:lnTo>
                <a:lnTo>
                  <a:pt x="2561433" y="360700"/>
                </a:lnTo>
                <a:lnTo>
                  <a:pt x="2561433" y="219812"/>
                </a:lnTo>
                <a:lnTo>
                  <a:pt x="2363697" y="219812"/>
                </a:lnTo>
                <a:lnTo>
                  <a:pt x="2363697" y="175458"/>
                </a:lnTo>
                <a:lnTo>
                  <a:pt x="2561433" y="175458"/>
                </a:lnTo>
                <a:lnTo>
                  <a:pt x="2561433" y="45658"/>
                </a:lnTo>
                <a:lnTo>
                  <a:pt x="2332373" y="45658"/>
                </a:lnTo>
                <a:lnTo>
                  <a:pt x="2332373" y="1305"/>
                </a:lnTo>
                <a:lnTo>
                  <a:pt x="2610378" y="1305"/>
                </a:lnTo>
                <a:close/>
                <a:moveTo>
                  <a:pt x="29367" y="715530"/>
                </a:moveTo>
                <a:lnTo>
                  <a:pt x="0" y="715530"/>
                </a:lnTo>
                <a:lnTo>
                  <a:pt x="0" y="567466"/>
                </a:lnTo>
                <a:lnTo>
                  <a:pt x="29367" y="567466"/>
                </a:lnTo>
                <a:lnTo>
                  <a:pt x="29367" y="715530"/>
                </a:lnTo>
                <a:close/>
                <a:moveTo>
                  <a:pt x="78964" y="567466"/>
                </a:moveTo>
                <a:lnTo>
                  <a:pt x="110289" y="567466"/>
                </a:lnTo>
                <a:lnTo>
                  <a:pt x="157928" y="665958"/>
                </a:lnTo>
                <a:lnTo>
                  <a:pt x="205567" y="567466"/>
                </a:lnTo>
                <a:lnTo>
                  <a:pt x="236892" y="567466"/>
                </a:lnTo>
                <a:lnTo>
                  <a:pt x="236892" y="715530"/>
                </a:lnTo>
                <a:lnTo>
                  <a:pt x="207525" y="715530"/>
                </a:lnTo>
                <a:lnTo>
                  <a:pt x="207525" y="624865"/>
                </a:lnTo>
                <a:lnTo>
                  <a:pt x="167717" y="705746"/>
                </a:lnTo>
                <a:lnTo>
                  <a:pt x="148792" y="705746"/>
                </a:lnTo>
                <a:lnTo>
                  <a:pt x="108983" y="624865"/>
                </a:lnTo>
                <a:lnTo>
                  <a:pt x="108983" y="715530"/>
                </a:lnTo>
                <a:lnTo>
                  <a:pt x="79617" y="715530"/>
                </a:lnTo>
                <a:lnTo>
                  <a:pt x="79617" y="567466"/>
                </a:lnTo>
                <a:close/>
                <a:moveTo>
                  <a:pt x="281921" y="715530"/>
                </a:moveTo>
                <a:lnTo>
                  <a:pt x="281921" y="567466"/>
                </a:lnTo>
                <a:lnTo>
                  <a:pt x="346528" y="567466"/>
                </a:lnTo>
                <a:cubicBezTo>
                  <a:pt x="378505" y="567466"/>
                  <a:pt x="399388" y="587034"/>
                  <a:pt x="399388" y="616386"/>
                </a:cubicBezTo>
                <a:cubicBezTo>
                  <a:pt x="399388" y="644433"/>
                  <a:pt x="378505" y="664653"/>
                  <a:pt x="346528" y="664653"/>
                </a:cubicBezTo>
                <a:lnTo>
                  <a:pt x="311288" y="664653"/>
                </a:lnTo>
                <a:lnTo>
                  <a:pt x="311288" y="715530"/>
                </a:lnTo>
                <a:lnTo>
                  <a:pt x="281921" y="715530"/>
                </a:lnTo>
                <a:close/>
                <a:moveTo>
                  <a:pt x="311288" y="639215"/>
                </a:moveTo>
                <a:lnTo>
                  <a:pt x="344570" y="639215"/>
                </a:lnTo>
                <a:cubicBezTo>
                  <a:pt x="360885" y="639215"/>
                  <a:pt x="369369" y="628779"/>
                  <a:pt x="369369" y="616386"/>
                </a:cubicBezTo>
                <a:cubicBezTo>
                  <a:pt x="369369" y="602688"/>
                  <a:pt x="360885" y="592905"/>
                  <a:pt x="344570" y="592905"/>
                </a:cubicBezTo>
                <a:lnTo>
                  <a:pt x="311288" y="592905"/>
                </a:lnTo>
                <a:lnTo>
                  <a:pt x="311288" y="639215"/>
                </a:lnTo>
                <a:close/>
                <a:moveTo>
                  <a:pt x="426144" y="641824"/>
                </a:moveTo>
                <a:cubicBezTo>
                  <a:pt x="426144" y="596818"/>
                  <a:pt x="458774" y="565510"/>
                  <a:pt x="503803" y="565510"/>
                </a:cubicBezTo>
                <a:cubicBezTo>
                  <a:pt x="548832" y="565510"/>
                  <a:pt x="581462" y="597470"/>
                  <a:pt x="581462" y="641824"/>
                </a:cubicBezTo>
                <a:cubicBezTo>
                  <a:pt x="581462" y="686830"/>
                  <a:pt x="548832" y="717486"/>
                  <a:pt x="503803" y="717486"/>
                </a:cubicBezTo>
                <a:cubicBezTo>
                  <a:pt x="458774" y="718139"/>
                  <a:pt x="426144" y="686830"/>
                  <a:pt x="426144" y="641824"/>
                </a:cubicBezTo>
                <a:close/>
                <a:moveTo>
                  <a:pt x="503803" y="690744"/>
                </a:moveTo>
                <a:cubicBezTo>
                  <a:pt x="531865" y="690744"/>
                  <a:pt x="551442" y="671176"/>
                  <a:pt x="551442" y="641824"/>
                </a:cubicBezTo>
                <a:cubicBezTo>
                  <a:pt x="551442" y="613125"/>
                  <a:pt x="531865" y="592905"/>
                  <a:pt x="503803" y="592905"/>
                </a:cubicBezTo>
                <a:cubicBezTo>
                  <a:pt x="476394" y="592905"/>
                  <a:pt x="456164" y="613125"/>
                  <a:pt x="456164" y="641824"/>
                </a:cubicBezTo>
                <a:cubicBezTo>
                  <a:pt x="456816" y="670523"/>
                  <a:pt x="476394" y="690744"/>
                  <a:pt x="503803" y="690744"/>
                </a:cubicBezTo>
                <a:close/>
                <a:moveTo>
                  <a:pt x="629754" y="667262"/>
                </a:moveTo>
                <a:cubicBezTo>
                  <a:pt x="636932" y="681612"/>
                  <a:pt x="649984" y="691396"/>
                  <a:pt x="667604" y="691396"/>
                </a:cubicBezTo>
                <a:cubicBezTo>
                  <a:pt x="681961" y="691396"/>
                  <a:pt x="693055" y="684221"/>
                  <a:pt x="693055" y="675089"/>
                </a:cubicBezTo>
                <a:cubicBezTo>
                  <a:pt x="693055" y="665305"/>
                  <a:pt x="681961" y="660087"/>
                  <a:pt x="664341" y="654217"/>
                </a:cubicBezTo>
                <a:cubicBezTo>
                  <a:pt x="635627" y="645085"/>
                  <a:pt x="612786" y="636606"/>
                  <a:pt x="612786" y="607907"/>
                </a:cubicBezTo>
                <a:cubicBezTo>
                  <a:pt x="612786" y="579859"/>
                  <a:pt x="640195" y="565510"/>
                  <a:pt x="664994" y="565510"/>
                </a:cubicBezTo>
                <a:cubicBezTo>
                  <a:pt x="691750" y="565510"/>
                  <a:pt x="710676" y="581164"/>
                  <a:pt x="719812" y="597470"/>
                </a:cubicBezTo>
                <a:lnTo>
                  <a:pt x="696971" y="613777"/>
                </a:lnTo>
                <a:cubicBezTo>
                  <a:pt x="690445" y="602688"/>
                  <a:pt x="680004" y="592252"/>
                  <a:pt x="664341" y="592252"/>
                </a:cubicBezTo>
                <a:cubicBezTo>
                  <a:pt x="652594" y="592252"/>
                  <a:pt x="642806" y="598123"/>
                  <a:pt x="642806" y="607907"/>
                </a:cubicBezTo>
                <a:cubicBezTo>
                  <a:pt x="642806" y="619647"/>
                  <a:pt x="653900" y="621604"/>
                  <a:pt x="672172" y="628127"/>
                </a:cubicBezTo>
                <a:cubicBezTo>
                  <a:pt x="700234" y="637910"/>
                  <a:pt x="723075" y="645738"/>
                  <a:pt x="723075" y="674437"/>
                </a:cubicBezTo>
                <a:cubicBezTo>
                  <a:pt x="723075" y="703789"/>
                  <a:pt x="693708" y="717486"/>
                  <a:pt x="666952" y="717486"/>
                </a:cubicBezTo>
                <a:cubicBezTo>
                  <a:pt x="638238" y="717486"/>
                  <a:pt x="616049" y="702484"/>
                  <a:pt x="607566" y="682264"/>
                </a:cubicBezTo>
                <a:lnTo>
                  <a:pt x="629754" y="667262"/>
                </a:lnTo>
                <a:close/>
                <a:moveTo>
                  <a:pt x="770714" y="667262"/>
                </a:moveTo>
                <a:cubicBezTo>
                  <a:pt x="777893" y="681612"/>
                  <a:pt x="790945" y="691396"/>
                  <a:pt x="808565" y="691396"/>
                </a:cubicBezTo>
                <a:cubicBezTo>
                  <a:pt x="822922" y="691396"/>
                  <a:pt x="834016" y="684221"/>
                  <a:pt x="834016" y="675089"/>
                </a:cubicBezTo>
                <a:cubicBezTo>
                  <a:pt x="834016" y="665305"/>
                  <a:pt x="822922" y="660087"/>
                  <a:pt x="805302" y="654217"/>
                </a:cubicBezTo>
                <a:cubicBezTo>
                  <a:pt x="776587" y="645085"/>
                  <a:pt x="753747" y="636606"/>
                  <a:pt x="753747" y="607907"/>
                </a:cubicBezTo>
                <a:cubicBezTo>
                  <a:pt x="753747" y="579859"/>
                  <a:pt x="781156" y="565510"/>
                  <a:pt x="805954" y="565510"/>
                </a:cubicBezTo>
                <a:cubicBezTo>
                  <a:pt x="832711" y="565510"/>
                  <a:pt x="851636" y="581164"/>
                  <a:pt x="860772" y="597470"/>
                </a:cubicBezTo>
                <a:lnTo>
                  <a:pt x="837931" y="613777"/>
                </a:lnTo>
                <a:cubicBezTo>
                  <a:pt x="831406" y="602688"/>
                  <a:pt x="820964" y="592252"/>
                  <a:pt x="805302" y="592252"/>
                </a:cubicBezTo>
                <a:cubicBezTo>
                  <a:pt x="793555" y="592252"/>
                  <a:pt x="783766" y="598123"/>
                  <a:pt x="783766" y="607907"/>
                </a:cubicBezTo>
                <a:cubicBezTo>
                  <a:pt x="783766" y="619647"/>
                  <a:pt x="794860" y="621604"/>
                  <a:pt x="813133" y="628127"/>
                </a:cubicBezTo>
                <a:cubicBezTo>
                  <a:pt x="841194" y="637910"/>
                  <a:pt x="864035" y="645738"/>
                  <a:pt x="864035" y="674437"/>
                </a:cubicBezTo>
                <a:cubicBezTo>
                  <a:pt x="864035" y="703789"/>
                  <a:pt x="834669" y="717486"/>
                  <a:pt x="807912" y="717486"/>
                </a:cubicBezTo>
                <a:cubicBezTo>
                  <a:pt x="779198" y="717486"/>
                  <a:pt x="757010" y="702484"/>
                  <a:pt x="748526" y="682264"/>
                </a:cubicBezTo>
                <a:lnTo>
                  <a:pt x="770714" y="667262"/>
                </a:lnTo>
                <a:close/>
                <a:moveTo>
                  <a:pt x="933863" y="715530"/>
                </a:moveTo>
                <a:lnTo>
                  <a:pt x="904496" y="715530"/>
                </a:lnTo>
                <a:lnTo>
                  <a:pt x="904496" y="567466"/>
                </a:lnTo>
                <a:lnTo>
                  <a:pt x="933863" y="567466"/>
                </a:lnTo>
                <a:lnTo>
                  <a:pt x="933863" y="715530"/>
                </a:lnTo>
                <a:close/>
                <a:moveTo>
                  <a:pt x="978892" y="567466"/>
                </a:moveTo>
                <a:lnTo>
                  <a:pt x="1047414" y="567466"/>
                </a:lnTo>
                <a:cubicBezTo>
                  <a:pt x="1074171" y="567466"/>
                  <a:pt x="1093096" y="583773"/>
                  <a:pt x="1093096" y="607907"/>
                </a:cubicBezTo>
                <a:cubicBezTo>
                  <a:pt x="1093096" y="617691"/>
                  <a:pt x="1087875" y="633345"/>
                  <a:pt x="1073518" y="638563"/>
                </a:cubicBezTo>
                <a:cubicBezTo>
                  <a:pt x="1089833" y="645085"/>
                  <a:pt x="1098316" y="658783"/>
                  <a:pt x="1098316" y="674437"/>
                </a:cubicBezTo>
                <a:cubicBezTo>
                  <a:pt x="1098316" y="698571"/>
                  <a:pt x="1079391" y="715530"/>
                  <a:pt x="1051982" y="715530"/>
                </a:cubicBezTo>
                <a:lnTo>
                  <a:pt x="978892" y="715530"/>
                </a:lnTo>
                <a:lnTo>
                  <a:pt x="978892" y="567466"/>
                </a:lnTo>
                <a:close/>
                <a:moveTo>
                  <a:pt x="1008258" y="592905"/>
                </a:moveTo>
                <a:lnTo>
                  <a:pt x="1008258" y="629431"/>
                </a:lnTo>
                <a:lnTo>
                  <a:pt x="1042846" y="629431"/>
                </a:lnTo>
                <a:cubicBezTo>
                  <a:pt x="1055245" y="629431"/>
                  <a:pt x="1062424" y="621604"/>
                  <a:pt x="1062424" y="611820"/>
                </a:cubicBezTo>
                <a:cubicBezTo>
                  <a:pt x="1062424" y="600079"/>
                  <a:pt x="1053940" y="593557"/>
                  <a:pt x="1042193" y="593557"/>
                </a:cubicBezTo>
                <a:lnTo>
                  <a:pt x="1008258" y="593557"/>
                </a:lnTo>
                <a:close/>
                <a:moveTo>
                  <a:pt x="1008258" y="652260"/>
                </a:moveTo>
                <a:lnTo>
                  <a:pt x="1008258" y="690744"/>
                </a:lnTo>
                <a:lnTo>
                  <a:pt x="1046762" y="690744"/>
                </a:lnTo>
                <a:cubicBezTo>
                  <a:pt x="1058508" y="690744"/>
                  <a:pt x="1066340" y="682917"/>
                  <a:pt x="1066340" y="672480"/>
                </a:cubicBezTo>
                <a:cubicBezTo>
                  <a:pt x="1066340" y="660087"/>
                  <a:pt x="1058508" y="652260"/>
                  <a:pt x="1046762" y="652260"/>
                </a:cubicBezTo>
                <a:lnTo>
                  <a:pt x="1008258" y="652260"/>
                </a:lnTo>
                <a:close/>
                <a:moveTo>
                  <a:pt x="1247108" y="715530"/>
                </a:moveTo>
                <a:lnTo>
                  <a:pt x="1137472" y="715530"/>
                </a:lnTo>
                <a:lnTo>
                  <a:pt x="1137472" y="567466"/>
                </a:lnTo>
                <a:lnTo>
                  <a:pt x="1166839" y="567466"/>
                </a:lnTo>
                <a:lnTo>
                  <a:pt x="1166839" y="690091"/>
                </a:lnTo>
                <a:lnTo>
                  <a:pt x="1246455" y="690091"/>
                </a:lnTo>
                <a:lnTo>
                  <a:pt x="1246455" y="715530"/>
                </a:lnTo>
                <a:close/>
                <a:moveTo>
                  <a:pt x="1281043" y="567466"/>
                </a:moveTo>
                <a:lnTo>
                  <a:pt x="1386763" y="567466"/>
                </a:lnTo>
                <a:lnTo>
                  <a:pt x="1386763" y="592905"/>
                </a:lnTo>
                <a:lnTo>
                  <a:pt x="1311062" y="592905"/>
                </a:lnTo>
                <a:lnTo>
                  <a:pt x="1311062" y="626822"/>
                </a:lnTo>
                <a:lnTo>
                  <a:pt x="1376974" y="626822"/>
                </a:lnTo>
                <a:lnTo>
                  <a:pt x="1376974" y="652260"/>
                </a:lnTo>
                <a:lnTo>
                  <a:pt x="1311062" y="652260"/>
                </a:lnTo>
                <a:lnTo>
                  <a:pt x="1311062" y="690091"/>
                </a:lnTo>
                <a:lnTo>
                  <a:pt x="1388721" y="690091"/>
                </a:lnTo>
                <a:lnTo>
                  <a:pt x="1388721" y="715530"/>
                </a:lnTo>
                <a:lnTo>
                  <a:pt x="1281696" y="715530"/>
                </a:lnTo>
                <a:lnTo>
                  <a:pt x="1281696" y="567466"/>
                </a:lnTo>
                <a:close/>
                <a:moveTo>
                  <a:pt x="1504230" y="715530"/>
                </a:moveTo>
                <a:lnTo>
                  <a:pt x="1504230" y="567466"/>
                </a:lnTo>
                <a:lnTo>
                  <a:pt x="1530987" y="567466"/>
                </a:lnTo>
                <a:lnTo>
                  <a:pt x="1613214" y="669219"/>
                </a:lnTo>
                <a:lnTo>
                  <a:pt x="1613214" y="567466"/>
                </a:lnTo>
                <a:lnTo>
                  <a:pt x="1642580" y="567466"/>
                </a:lnTo>
                <a:lnTo>
                  <a:pt x="1642580" y="715530"/>
                </a:lnTo>
                <a:lnTo>
                  <a:pt x="1615171" y="715530"/>
                </a:lnTo>
                <a:lnTo>
                  <a:pt x="1533597" y="615081"/>
                </a:lnTo>
                <a:lnTo>
                  <a:pt x="1533597" y="715530"/>
                </a:lnTo>
                <a:lnTo>
                  <a:pt x="1504230" y="715530"/>
                </a:lnTo>
                <a:close/>
                <a:moveTo>
                  <a:pt x="1682388" y="641824"/>
                </a:moveTo>
                <a:cubicBezTo>
                  <a:pt x="1682388" y="596818"/>
                  <a:pt x="1715018" y="565510"/>
                  <a:pt x="1760047" y="565510"/>
                </a:cubicBezTo>
                <a:cubicBezTo>
                  <a:pt x="1805077" y="565510"/>
                  <a:pt x="1837706" y="597470"/>
                  <a:pt x="1837706" y="641824"/>
                </a:cubicBezTo>
                <a:cubicBezTo>
                  <a:pt x="1837706" y="686830"/>
                  <a:pt x="1805077" y="717486"/>
                  <a:pt x="1760047" y="717486"/>
                </a:cubicBezTo>
                <a:cubicBezTo>
                  <a:pt x="1715018" y="718139"/>
                  <a:pt x="1682388" y="686830"/>
                  <a:pt x="1682388" y="641824"/>
                </a:cubicBezTo>
                <a:close/>
                <a:moveTo>
                  <a:pt x="1760047" y="690744"/>
                </a:moveTo>
                <a:cubicBezTo>
                  <a:pt x="1788109" y="690744"/>
                  <a:pt x="1807687" y="671176"/>
                  <a:pt x="1807687" y="641824"/>
                </a:cubicBezTo>
                <a:cubicBezTo>
                  <a:pt x="1807687" y="613125"/>
                  <a:pt x="1788109" y="592905"/>
                  <a:pt x="1760047" y="592905"/>
                </a:cubicBezTo>
                <a:cubicBezTo>
                  <a:pt x="1732638" y="592905"/>
                  <a:pt x="1712408" y="613125"/>
                  <a:pt x="1712408" y="641824"/>
                </a:cubicBezTo>
                <a:cubicBezTo>
                  <a:pt x="1712408" y="670523"/>
                  <a:pt x="1732638" y="690744"/>
                  <a:pt x="1760047" y="690744"/>
                </a:cubicBezTo>
                <a:close/>
                <a:moveTo>
                  <a:pt x="1954520" y="567466"/>
                </a:moveTo>
                <a:lnTo>
                  <a:pt x="1985845" y="567466"/>
                </a:lnTo>
                <a:lnTo>
                  <a:pt x="2033485" y="665958"/>
                </a:lnTo>
                <a:lnTo>
                  <a:pt x="2081124" y="567466"/>
                </a:lnTo>
                <a:lnTo>
                  <a:pt x="2112448" y="567466"/>
                </a:lnTo>
                <a:lnTo>
                  <a:pt x="2112448" y="715530"/>
                </a:lnTo>
                <a:lnTo>
                  <a:pt x="2083082" y="715530"/>
                </a:lnTo>
                <a:lnTo>
                  <a:pt x="2083082" y="624865"/>
                </a:lnTo>
                <a:lnTo>
                  <a:pt x="2043274" y="705746"/>
                </a:lnTo>
                <a:lnTo>
                  <a:pt x="2024348" y="705746"/>
                </a:lnTo>
                <a:lnTo>
                  <a:pt x="1984540" y="624865"/>
                </a:lnTo>
                <a:lnTo>
                  <a:pt x="1984540" y="715530"/>
                </a:lnTo>
                <a:lnTo>
                  <a:pt x="1955173" y="715530"/>
                </a:lnTo>
                <a:lnTo>
                  <a:pt x="1955173" y="567466"/>
                </a:lnTo>
                <a:close/>
                <a:moveTo>
                  <a:pt x="2152257" y="641824"/>
                </a:moveTo>
                <a:cubicBezTo>
                  <a:pt x="2152257" y="596818"/>
                  <a:pt x="2184886" y="565510"/>
                  <a:pt x="2229915" y="565510"/>
                </a:cubicBezTo>
                <a:cubicBezTo>
                  <a:pt x="2274945" y="565510"/>
                  <a:pt x="2307574" y="597470"/>
                  <a:pt x="2307574" y="641824"/>
                </a:cubicBezTo>
                <a:cubicBezTo>
                  <a:pt x="2307574" y="686830"/>
                  <a:pt x="2274945" y="717486"/>
                  <a:pt x="2229915" y="717486"/>
                </a:cubicBezTo>
                <a:cubicBezTo>
                  <a:pt x="2184886" y="718139"/>
                  <a:pt x="2152257" y="686830"/>
                  <a:pt x="2152257" y="641824"/>
                </a:cubicBezTo>
                <a:close/>
                <a:moveTo>
                  <a:pt x="2229915" y="690744"/>
                </a:moveTo>
                <a:cubicBezTo>
                  <a:pt x="2257977" y="690744"/>
                  <a:pt x="2277555" y="671176"/>
                  <a:pt x="2277555" y="641824"/>
                </a:cubicBezTo>
                <a:cubicBezTo>
                  <a:pt x="2277555" y="613125"/>
                  <a:pt x="2257977" y="592905"/>
                  <a:pt x="2229915" y="592905"/>
                </a:cubicBezTo>
                <a:cubicBezTo>
                  <a:pt x="2202506" y="592905"/>
                  <a:pt x="2182276" y="613125"/>
                  <a:pt x="2182276" y="641824"/>
                </a:cubicBezTo>
                <a:cubicBezTo>
                  <a:pt x="2182276" y="670523"/>
                  <a:pt x="2202506" y="690744"/>
                  <a:pt x="2229915" y="690744"/>
                </a:cubicBezTo>
                <a:close/>
                <a:moveTo>
                  <a:pt x="2342814" y="715530"/>
                </a:moveTo>
                <a:lnTo>
                  <a:pt x="2342814" y="567466"/>
                </a:lnTo>
                <a:lnTo>
                  <a:pt x="2408074" y="567466"/>
                </a:lnTo>
                <a:cubicBezTo>
                  <a:pt x="2440051" y="567466"/>
                  <a:pt x="2460934" y="586382"/>
                  <a:pt x="2460934" y="615081"/>
                </a:cubicBezTo>
                <a:cubicBezTo>
                  <a:pt x="2460934" y="633997"/>
                  <a:pt x="2450492" y="649651"/>
                  <a:pt x="2433525" y="656826"/>
                </a:cubicBezTo>
                <a:lnTo>
                  <a:pt x="2466807" y="715530"/>
                </a:lnTo>
                <a:lnTo>
                  <a:pt x="2434177" y="715530"/>
                </a:lnTo>
                <a:lnTo>
                  <a:pt x="2404158" y="661392"/>
                </a:lnTo>
                <a:lnTo>
                  <a:pt x="2372181" y="661392"/>
                </a:lnTo>
                <a:lnTo>
                  <a:pt x="2372181" y="714877"/>
                </a:lnTo>
                <a:lnTo>
                  <a:pt x="2342814" y="714877"/>
                </a:lnTo>
                <a:close/>
                <a:moveTo>
                  <a:pt x="2372181" y="635954"/>
                </a:moveTo>
                <a:lnTo>
                  <a:pt x="2406116" y="635954"/>
                </a:lnTo>
                <a:cubicBezTo>
                  <a:pt x="2422431" y="635954"/>
                  <a:pt x="2430914" y="626170"/>
                  <a:pt x="2430914" y="615081"/>
                </a:cubicBezTo>
                <a:cubicBezTo>
                  <a:pt x="2430914" y="602688"/>
                  <a:pt x="2422431" y="592905"/>
                  <a:pt x="2406116" y="592905"/>
                </a:cubicBezTo>
                <a:lnTo>
                  <a:pt x="2372181" y="592905"/>
                </a:lnTo>
                <a:lnTo>
                  <a:pt x="2372181" y="635954"/>
                </a:lnTo>
                <a:close/>
                <a:moveTo>
                  <a:pt x="2503353" y="567466"/>
                </a:moveTo>
                <a:lnTo>
                  <a:pt x="2609073" y="567466"/>
                </a:lnTo>
                <a:lnTo>
                  <a:pt x="2609073" y="592905"/>
                </a:lnTo>
                <a:lnTo>
                  <a:pt x="2533372" y="592905"/>
                </a:lnTo>
                <a:lnTo>
                  <a:pt x="2533372" y="626822"/>
                </a:lnTo>
                <a:lnTo>
                  <a:pt x="2598631" y="626822"/>
                </a:lnTo>
                <a:lnTo>
                  <a:pt x="2598631" y="652260"/>
                </a:lnTo>
                <a:lnTo>
                  <a:pt x="2532719" y="652260"/>
                </a:lnTo>
                <a:lnTo>
                  <a:pt x="2532719" y="690091"/>
                </a:lnTo>
                <a:lnTo>
                  <a:pt x="2610378" y="690091"/>
                </a:lnTo>
                <a:lnTo>
                  <a:pt x="2610378" y="715530"/>
                </a:lnTo>
                <a:lnTo>
                  <a:pt x="2503353" y="715530"/>
                </a:lnTo>
                <a:lnTo>
                  <a:pt x="2503353" y="567466"/>
                </a:lnTo>
                <a:close/>
              </a:path>
            </a:pathLst>
          </a:custGeom>
          <a:solidFill>
            <a:schemeClr val="bg1"/>
          </a:solidFill>
          <a:ln w="6526" cap="flat">
            <a:noFill/>
            <a:prstDash val="solid"/>
            <a:miter/>
          </a:ln>
        </p:spPr>
        <p:txBody>
          <a:bodyPr rtlCol="0" anchor="ctr"/>
          <a:lstStyle/>
          <a:p>
            <a:pPr marL="0" indent="0">
              <a:tabLst>
                <a:tab pos="755650" algn="l"/>
              </a:tabLst>
            </a:pPr>
            <a:endParaRPr lang="en-US" b="0" i="0">
              <a:latin typeface="Arial" panose="020B0604020202020204" pitchFamily="34" charset="0"/>
              <a:cs typeface="Arial" panose="020B0604020202020204" pitchFamily="34" charset="0"/>
              <a:sym typeface="Arial" panose="020B0604020202020204" pitchFamily="34" charset="0"/>
            </a:endParaRPr>
          </a:p>
        </p:txBody>
      </p:sp>
      <p:sp>
        <p:nvSpPr>
          <p:cNvPr id="23" name="Content Placeholder 29">
            <a:extLst>
              <a:ext uri="{FF2B5EF4-FFF2-40B4-BE49-F238E27FC236}">
                <a16:creationId xmlns:a16="http://schemas.microsoft.com/office/drawing/2014/main" id="{0B7E91AA-B5FC-0C28-6201-80E71ED0E19C}"/>
              </a:ext>
            </a:extLst>
          </p:cNvPr>
          <p:cNvSpPr>
            <a:spLocks noGrp="1"/>
          </p:cNvSpPr>
          <p:nvPr>
            <p:ph sz="quarter" idx="12" hasCustomPrompt="1"/>
          </p:nvPr>
        </p:nvSpPr>
        <p:spPr>
          <a:xfrm>
            <a:off x="552449" y="4626248"/>
            <a:ext cx="2952750" cy="969963"/>
          </a:xfrm>
          <a:prstGeom prst="rect">
            <a:avLst/>
          </a:prstGeom>
        </p:spPr>
        <p:txBody>
          <a:bodyPr/>
          <a:lstStyle>
            <a:lvl1pPr rtl="0">
              <a:lnSpc>
                <a:spcPct val="100000"/>
              </a:lnSpc>
              <a:defRPr>
                <a:solidFill>
                  <a:schemeClr val="bg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a:t>CLIENT LOGO HERE</a:t>
            </a:r>
          </a:p>
          <a:p>
            <a:pPr lvl="0"/>
            <a:r>
              <a:rPr lang="en-US"/>
              <a:t>(Optional)</a:t>
            </a:r>
          </a:p>
        </p:txBody>
      </p:sp>
      <p:sp>
        <p:nvSpPr>
          <p:cNvPr id="24" name="Title 11">
            <a:extLst>
              <a:ext uri="{FF2B5EF4-FFF2-40B4-BE49-F238E27FC236}">
                <a16:creationId xmlns:a16="http://schemas.microsoft.com/office/drawing/2014/main" id="{864C38AF-20B9-3D83-474B-7DC7AC756516}"/>
              </a:ext>
            </a:extLst>
          </p:cNvPr>
          <p:cNvSpPr>
            <a:spLocks noGrp="1"/>
          </p:cNvSpPr>
          <p:nvPr>
            <p:ph type="title" hasCustomPrompt="1"/>
          </p:nvPr>
        </p:nvSpPr>
        <p:spPr>
          <a:xfrm>
            <a:off x="552449" y="1886448"/>
            <a:ext cx="5810252" cy="930768"/>
          </a:xfrm>
        </p:spPr>
        <p:txBody>
          <a:bodyPr vert="horz" wrap="square" lIns="0" tIns="0" rIns="0" bIns="0" rtlCol="0" anchor="t" anchorCtr="0">
            <a:spAutoFit/>
          </a:bodyPr>
          <a:lstStyle>
            <a:lvl1pPr rtl="0">
              <a:lnSpc>
                <a:spcPct val="100000"/>
              </a:lnSpc>
              <a:defRPr lang="en-GB" sz="3600" b="1" dirty="0">
                <a:solidFill>
                  <a:schemeClr val="bg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pPr>
            <a:r>
              <a:rPr lang="en-US"/>
              <a:t>Title - &lt;background color can be changed&gt;</a:t>
            </a:r>
          </a:p>
        </p:txBody>
      </p:sp>
      <p:sp>
        <p:nvSpPr>
          <p:cNvPr id="25" name="Text Placeholder 16">
            <a:extLst>
              <a:ext uri="{FF2B5EF4-FFF2-40B4-BE49-F238E27FC236}">
                <a16:creationId xmlns:a16="http://schemas.microsoft.com/office/drawing/2014/main" id="{3774FED8-D5A5-A2D2-C49C-D6D91F6744D5}"/>
              </a:ext>
            </a:extLst>
          </p:cNvPr>
          <p:cNvSpPr>
            <a:spLocks noGrp="1"/>
          </p:cNvSpPr>
          <p:nvPr>
            <p:ph type="body" sz="quarter" idx="15" hasCustomPrompt="1"/>
          </p:nvPr>
        </p:nvSpPr>
        <p:spPr>
          <a:xfrm>
            <a:off x="552449" y="2913388"/>
            <a:ext cx="5801103" cy="415498"/>
          </a:xfrm>
          <a:prstGeom prst="rect">
            <a:avLst/>
          </a:prstGeom>
        </p:spPr>
        <p:txBody>
          <a:bodyPr lIns="0" tIns="0" rIns="0">
            <a:spAutoFit/>
          </a:bodyPr>
          <a:lstStyle>
            <a:lvl1pPr rtl="0">
              <a:lnSpc>
                <a:spcPct val="100000"/>
              </a:lnSpc>
              <a:defRPr sz="24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sp>
        <p:nvSpPr>
          <p:cNvPr id="26" name="Text Placeholder 16">
            <a:extLst>
              <a:ext uri="{FF2B5EF4-FFF2-40B4-BE49-F238E27FC236}">
                <a16:creationId xmlns:a16="http://schemas.microsoft.com/office/drawing/2014/main" id="{4C3751FA-7108-B3FA-1AC3-5C0DB59AB307}"/>
              </a:ext>
            </a:extLst>
          </p:cNvPr>
          <p:cNvSpPr>
            <a:spLocks noGrp="1"/>
          </p:cNvSpPr>
          <p:nvPr>
            <p:ph type="body" sz="quarter" idx="16" hasCustomPrompt="1"/>
          </p:nvPr>
        </p:nvSpPr>
        <p:spPr>
          <a:xfrm>
            <a:off x="552449" y="3794391"/>
            <a:ext cx="3112893" cy="323165"/>
          </a:xfrm>
          <a:prstGeom prst="rect">
            <a:avLst/>
          </a:prstGeom>
        </p:spPr>
        <p:txBody>
          <a:bodyPr lIns="0" tIns="0" rIns="0">
            <a:spAutoFit/>
          </a:bodyPr>
          <a:lstStyle>
            <a:lvl1pPr rtl="0">
              <a:lnSpc>
                <a:spcPct val="100000"/>
              </a:lnSpc>
              <a:defRPr sz="18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p>
        </p:txBody>
      </p:sp>
    </p:spTree>
    <p:extLst>
      <p:ext uri="{BB962C8B-B14F-4D97-AF65-F5344CB8AC3E}">
        <p14:creationId xmlns:p14="http://schemas.microsoft.com/office/powerpoint/2010/main" val="18047842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 - Light">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08B6E66-59FF-AD79-D717-BBD8636263CA}"/>
              </a:ext>
            </a:extLst>
          </p:cNvPr>
          <p:cNvGraphicFramePr>
            <a:graphicFrameLocks noChangeAspect="1"/>
          </p:cNvGraphicFramePr>
          <p:nvPr userDrawn="1">
            <p:custDataLst>
              <p:tags r:id="rId1"/>
            </p:custDataLst>
            <p:extLst>
              <p:ext uri="{D42A27DB-BD31-4B8C-83A1-F6EECF244321}">
                <p14:modId xmlns:p14="http://schemas.microsoft.com/office/powerpoint/2010/main" val="20096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9" name="think-cell data - do not delete" hidden="1">
                        <a:extLst>
                          <a:ext uri="{FF2B5EF4-FFF2-40B4-BE49-F238E27FC236}">
                            <a16:creationId xmlns:a16="http://schemas.microsoft.com/office/drawing/2014/main" id="{F08B6E66-59FF-AD79-D717-BBD863626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Graphic 4">
            <a:extLst>
              <a:ext uri="{FF2B5EF4-FFF2-40B4-BE49-F238E27FC236}">
                <a16:creationId xmlns:a16="http://schemas.microsoft.com/office/drawing/2014/main" id="{597E2DEF-4E55-0A5F-B449-0138385E0BA8}"/>
              </a:ext>
            </a:extLst>
          </p:cNvPr>
          <p:cNvSpPr/>
          <p:nvPr userDrawn="1"/>
        </p:nvSpPr>
        <p:spPr>
          <a:xfrm>
            <a:off x="3810394" y="-1895061"/>
            <a:ext cx="10778341" cy="10774017"/>
          </a:xfrm>
          <a:custGeom>
            <a:avLst/>
            <a:gdLst>
              <a:gd name="connsiteX0" fmla="*/ 2375535 w 2375535"/>
              <a:gd name="connsiteY0" fmla="*/ 741045 h 2374582"/>
              <a:gd name="connsiteX1" fmla="*/ 1634490 w 2375535"/>
              <a:gd name="connsiteY1" fmla="*/ 0 h 2374582"/>
              <a:gd name="connsiteX2" fmla="*/ 1187768 w 2375535"/>
              <a:gd name="connsiteY2" fmla="*/ 446723 h 2374582"/>
              <a:gd name="connsiteX3" fmla="*/ 741045 w 2375535"/>
              <a:gd name="connsiteY3" fmla="*/ 0 h 2374582"/>
              <a:gd name="connsiteX4" fmla="*/ 0 w 2375535"/>
              <a:gd name="connsiteY4" fmla="*/ 741045 h 2374582"/>
              <a:gd name="connsiteX5" fmla="*/ 446723 w 2375535"/>
              <a:gd name="connsiteY5" fmla="*/ 1187768 h 2374582"/>
              <a:gd name="connsiteX6" fmla="*/ 0 w 2375535"/>
              <a:gd name="connsiteY6" fmla="*/ 1633538 h 2374582"/>
              <a:gd name="connsiteX7" fmla="*/ 741045 w 2375535"/>
              <a:gd name="connsiteY7" fmla="*/ 2374583 h 2374582"/>
              <a:gd name="connsiteX8" fmla="*/ 1187768 w 2375535"/>
              <a:gd name="connsiteY8" fmla="*/ 1927860 h 2374582"/>
              <a:gd name="connsiteX9" fmla="*/ 1634490 w 2375535"/>
              <a:gd name="connsiteY9" fmla="*/ 2374583 h 2374582"/>
              <a:gd name="connsiteX10" fmla="*/ 2375535 w 2375535"/>
              <a:gd name="connsiteY10" fmla="*/ 1633538 h 2374582"/>
              <a:gd name="connsiteX11" fmla="*/ 1928813 w 2375535"/>
              <a:gd name="connsiteY11" fmla="*/ 1186815 h 2374582"/>
              <a:gd name="connsiteX12" fmla="*/ 2375535 w 2375535"/>
              <a:gd name="connsiteY12" fmla="*/ 741045 h 2374582"/>
              <a:gd name="connsiteX13" fmla="*/ 2206943 w 2375535"/>
              <a:gd name="connsiteY13" fmla="*/ 741045 h 2374582"/>
              <a:gd name="connsiteX14" fmla="*/ 1844040 w 2375535"/>
              <a:gd name="connsiteY14" fmla="*/ 1103948 h 2374582"/>
              <a:gd name="connsiteX15" fmla="*/ 1600200 w 2375535"/>
              <a:gd name="connsiteY15" fmla="*/ 860108 h 2374582"/>
              <a:gd name="connsiteX16" fmla="*/ 1963103 w 2375535"/>
              <a:gd name="connsiteY16" fmla="*/ 497205 h 2374582"/>
              <a:gd name="connsiteX17" fmla="*/ 2206943 w 2375535"/>
              <a:gd name="connsiteY17" fmla="*/ 741045 h 2374582"/>
              <a:gd name="connsiteX18" fmla="*/ 1616393 w 2375535"/>
              <a:gd name="connsiteY18" fmla="*/ 1043940 h 2374582"/>
              <a:gd name="connsiteX19" fmla="*/ 1557338 w 2375535"/>
              <a:gd name="connsiteY19" fmla="*/ 1102995 h 2374582"/>
              <a:gd name="connsiteX20" fmla="*/ 1271588 w 2375535"/>
              <a:gd name="connsiteY20" fmla="*/ 817245 h 2374582"/>
              <a:gd name="connsiteX21" fmla="*/ 1330643 w 2375535"/>
              <a:gd name="connsiteY21" fmla="*/ 758190 h 2374582"/>
              <a:gd name="connsiteX22" fmla="*/ 1616393 w 2375535"/>
              <a:gd name="connsiteY22" fmla="*/ 1043940 h 2374582"/>
              <a:gd name="connsiteX23" fmla="*/ 1187768 w 2375535"/>
              <a:gd name="connsiteY23" fmla="*/ 1102995 h 2374582"/>
              <a:gd name="connsiteX24" fmla="*/ 1086803 w 2375535"/>
              <a:gd name="connsiteY24" fmla="*/ 1002030 h 2374582"/>
              <a:gd name="connsiteX25" fmla="*/ 1187768 w 2375535"/>
              <a:gd name="connsiteY25" fmla="*/ 902018 h 2374582"/>
              <a:gd name="connsiteX26" fmla="*/ 1288733 w 2375535"/>
              <a:gd name="connsiteY26" fmla="*/ 1002983 h 2374582"/>
              <a:gd name="connsiteX27" fmla="*/ 1187768 w 2375535"/>
              <a:gd name="connsiteY27" fmla="*/ 1102995 h 2374582"/>
              <a:gd name="connsiteX28" fmla="*/ 1002983 w 2375535"/>
              <a:gd name="connsiteY28" fmla="*/ 1086803 h 2374582"/>
              <a:gd name="connsiteX29" fmla="*/ 1103948 w 2375535"/>
              <a:gd name="connsiteY29" fmla="*/ 1187768 h 2374582"/>
              <a:gd name="connsiteX30" fmla="*/ 1002983 w 2375535"/>
              <a:gd name="connsiteY30" fmla="*/ 1288733 h 2374582"/>
              <a:gd name="connsiteX31" fmla="*/ 902018 w 2375535"/>
              <a:gd name="connsiteY31" fmla="*/ 1187768 h 2374582"/>
              <a:gd name="connsiteX32" fmla="*/ 1002983 w 2375535"/>
              <a:gd name="connsiteY32" fmla="*/ 1086803 h 2374582"/>
              <a:gd name="connsiteX33" fmla="*/ 1187768 w 2375535"/>
              <a:gd name="connsiteY33" fmla="*/ 1271588 h 2374582"/>
              <a:gd name="connsiteX34" fmla="*/ 1288733 w 2375535"/>
              <a:gd name="connsiteY34" fmla="*/ 1372553 h 2374582"/>
              <a:gd name="connsiteX35" fmla="*/ 1187768 w 2375535"/>
              <a:gd name="connsiteY35" fmla="*/ 1473518 h 2374582"/>
              <a:gd name="connsiteX36" fmla="*/ 1086803 w 2375535"/>
              <a:gd name="connsiteY36" fmla="*/ 1372553 h 2374582"/>
              <a:gd name="connsiteX37" fmla="*/ 1187768 w 2375535"/>
              <a:gd name="connsiteY37" fmla="*/ 1271588 h 2374582"/>
              <a:gd name="connsiteX38" fmla="*/ 1372553 w 2375535"/>
              <a:gd name="connsiteY38" fmla="*/ 1287780 h 2374582"/>
              <a:gd name="connsiteX39" fmla="*/ 1271588 w 2375535"/>
              <a:gd name="connsiteY39" fmla="*/ 1186815 h 2374582"/>
              <a:gd name="connsiteX40" fmla="*/ 1372553 w 2375535"/>
              <a:gd name="connsiteY40" fmla="*/ 1085850 h 2374582"/>
              <a:gd name="connsiteX41" fmla="*/ 1473518 w 2375535"/>
              <a:gd name="connsiteY41" fmla="*/ 1186815 h 2374582"/>
              <a:gd name="connsiteX42" fmla="*/ 1372553 w 2375535"/>
              <a:gd name="connsiteY42" fmla="*/ 1287780 h 2374582"/>
              <a:gd name="connsiteX43" fmla="*/ 1187768 w 2375535"/>
              <a:gd name="connsiteY43" fmla="*/ 733425 h 2374582"/>
              <a:gd name="connsiteX44" fmla="*/ 1128713 w 2375535"/>
              <a:gd name="connsiteY44" fmla="*/ 674370 h 2374582"/>
              <a:gd name="connsiteX45" fmla="*/ 1187768 w 2375535"/>
              <a:gd name="connsiteY45" fmla="*/ 615315 h 2374582"/>
              <a:gd name="connsiteX46" fmla="*/ 1246823 w 2375535"/>
              <a:gd name="connsiteY46" fmla="*/ 674370 h 2374582"/>
              <a:gd name="connsiteX47" fmla="*/ 1187768 w 2375535"/>
              <a:gd name="connsiteY47" fmla="*/ 733425 h 2374582"/>
              <a:gd name="connsiteX48" fmla="*/ 1103948 w 2375535"/>
              <a:gd name="connsiteY48" fmla="*/ 817245 h 2374582"/>
              <a:gd name="connsiteX49" fmla="*/ 818198 w 2375535"/>
              <a:gd name="connsiteY49" fmla="*/ 1102995 h 2374582"/>
              <a:gd name="connsiteX50" fmla="*/ 759143 w 2375535"/>
              <a:gd name="connsiteY50" fmla="*/ 1043940 h 2374582"/>
              <a:gd name="connsiteX51" fmla="*/ 1044893 w 2375535"/>
              <a:gd name="connsiteY51" fmla="*/ 758190 h 2374582"/>
              <a:gd name="connsiteX52" fmla="*/ 1103948 w 2375535"/>
              <a:gd name="connsiteY52" fmla="*/ 817245 h 2374582"/>
              <a:gd name="connsiteX53" fmla="*/ 674370 w 2375535"/>
              <a:gd name="connsiteY53" fmla="*/ 1127760 h 2374582"/>
              <a:gd name="connsiteX54" fmla="*/ 733425 w 2375535"/>
              <a:gd name="connsiteY54" fmla="*/ 1186815 h 2374582"/>
              <a:gd name="connsiteX55" fmla="*/ 674370 w 2375535"/>
              <a:gd name="connsiteY55" fmla="*/ 1245870 h 2374582"/>
              <a:gd name="connsiteX56" fmla="*/ 615315 w 2375535"/>
              <a:gd name="connsiteY56" fmla="*/ 1186815 h 2374582"/>
              <a:gd name="connsiteX57" fmla="*/ 674370 w 2375535"/>
              <a:gd name="connsiteY57" fmla="*/ 1127760 h 2374582"/>
              <a:gd name="connsiteX58" fmla="*/ 759143 w 2375535"/>
              <a:gd name="connsiteY58" fmla="*/ 1330643 h 2374582"/>
              <a:gd name="connsiteX59" fmla="*/ 818198 w 2375535"/>
              <a:gd name="connsiteY59" fmla="*/ 1271588 h 2374582"/>
              <a:gd name="connsiteX60" fmla="*/ 1103948 w 2375535"/>
              <a:gd name="connsiteY60" fmla="*/ 1557338 h 2374582"/>
              <a:gd name="connsiteX61" fmla="*/ 1044893 w 2375535"/>
              <a:gd name="connsiteY61" fmla="*/ 1616393 h 2374582"/>
              <a:gd name="connsiteX62" fmla="*/ 759143 w 2375535"/>
              <a:gd name="connsiteY62" fmla="*/ 1330643 h 2374582"/>
              <a:gd name="connsiteX63" fmla="*/ 1187768 w 2375535"/>
              <a:gd name="connsiteY63" fmla="*/ 1641158 h 2374582"/>
              <a:gd name="connsiteX64" fmla="*/ 1246823 w 2375535"/>
              <a:gd name="connsiteY64" fmla="*/ 1700213 h 2374582"/>
              <a:gd name="connsiteX65" fmla="*/ 1187768 w 2375535"/>
              <a:gd name="connsiteY65" fmla="*/ 1759268 h 2374582"/>
              <a:gd name="connsiteX66" fmla="*/ 1128713 w 2375535"/>
              <a:gd name="connsiteY66" fmla="*/ 1700213 h 2374582"/>
              <a:gd name="connsiteX67" fmla="*/ 1187768 w 2375535"/>
              <a:gd name="connsiteY67" fmla="*/ 1641158 h 2374582"/>
              <a:gd name="connsiteX68" fmla="*/ 1271588 w 2375535"/>
              <a:gd name="connsiteY68" fmla="*/ 1556385 h 2374582"/>
              <a:gd name="connsiteX69" fmla="*/ 1557338 w 2375535"/>
              <a:gd name="connsiteY69" fmla="*/ 1270635 h 2374582"/>
              <a:gd name="connsiteX70" fmla="*/ 1616393 w 2375535"/>
              <a:gd name="connsiteY70" fmla="*/ 1329690 h 2374582"/>
              <a:gd name="connsiteX71" fmla="*/ 1330643 w 2375535"/>
              <a:gd name="connsiteY71" fmla="*/ 1615440 h 2374582"/>
              <a:gd name="connsiteX72" fmla="*/ 1271588 w 2375535"/>
              <a:gd name="connsiteY72" fmla="*/ 1556385 h 2374582"/>
              <a:gd name="connsiteX73" fmla="*/ 1701165 w 2375535"/>
              <a:gd name="connsiteY73" fmla="*/ 1246823 h 2374582"/>
              <a:gd name="connsiteX74" fmla="*/ 1642110 w 2375535"/>
              <a:gd name="connsiteY74" fmla="*/ 1187768 h 2374582"/>
              <a:gd name="connsiteX75" fmla="*/ 1701165 w 2375535"/>
              <a:gd name="connsiteY75" fmla="*/ 1128713 h 2374582"/>
              <a:gd name="connsiteX76" fmla="*/ 1760220 w 2375535"/>
              <a:gd name="connsiteY76" fmla="*/ 1187768 h 2374582"/>
              <a:gd name="connsiteX77" fmla="*/ 1701165 w 2375535"/>
              <a:gd name="connsiteY77" fmla="*/ 1246823 h 2374582"/>
              <a:gd name="connsiteX78" fmla="*/ 1634490 w 2375535"/>
              <a:gd name="connsiteY78" fmla="*/ 168593 h 2374582"/>
              <a:gd name="connsiteX79" fmla="*/ 1878330 w 2375535"/>
              <a:gd name="connsiteY79" fmla="*/ 412432 h 2374582"/>
              <a:gd name="connsiteX80" fmla="*/ 1515428 w 2375535"/>
              <a:gd name="connsiteY80" fmla="*/ 775335 h 2374582"/>
              <a:gd name="connsiteX81" fmla="*/ 1331595 w 2375535"/>
              <a:gd name="connsiteY81" fmla="*/ 589598 h 2374582"/>
              <a:gd name="connsiteX82" fmla="*/ 1331595 w 2375535"/>
              <a:gd name="connsiteY82" fmla="*/ 589598 h 2374582"/>
              <a:gd name="connsiteX83" fmla="*/ 1272540 w 2375535"/>
              <a:gd name="connsiteY83" fmla="*/ 530543 h 2374582"/>
              <a:gd name="connsiteX84" fmla="*/ 1634490 w 2375535"/>
              <a:gd name="connsiteY84" fmla="*/ 168593 h 2374582"/>
              <a:gd name="connsiteX85" fmla="*/ 741045 w 2375535"/>
              <a:gd name="connsiteY85" fmla="*/ 168593 h 2374582"/>
              <a:gd name="connsiteX86" fmla="*/ 1103948 w 2375535"/>
              <a:gd name="connsiteY86" fmla="*/ 530543 h 2374582"/>
              <a:gd name="connsiteX87" fmla="*/ 1044893 w 2375535"/>
              <a:gd name="connsiteY87" fmla="*/ 589598 h 2374582"/>
              <a:gd name="connsiteX88" fmla="*/ 1044893 w 2375535"/>
              <a:gd name="connsiteY88" fmla="*/ 589598 h 2374582"/>
              <a:gd name="connsiteX89" fmla="*/ 859155 w 2375535"/>
              <a:gd name="connsiteY89" fmla="*/ 774383 h 2374582"/>
              <a:gd name="connsiteX90" fmla="*/ 497205 w 2375535"/>
              <a:gd name="connsiteY90" fmla="*/ 412432 h 2374582"/>
              <a:gd name="connsiteX91" fmla="*/ 741045 w 2375535"/>
              <a:gd name="connsiteY91" fmla="*/ 168593 h 2374582"/>
              <a:gd name="connsiteX92" fmla="*/ 168593 w 2375535"/>
              <a:gd name="connsiteY92" fmla="*/ 741045 h 2374582"/>
              <a:gd name="connsiteX93" fmla="*/ 412433 w 2375535"/>
              <a:gd name="connsiteY93" fmla="*/ 497205 h 2374582"/>
              <a:gd name="connsiteX94" fmla="*/ 775335 w 2375535"/>
              <a:gd name="connsiteY94" fmla="*/ 860108 h 2374582"/>
              <a:gd name="connsiteX95" fmla="*/ 531495 w 2375535"/>
              <a:gd name="connsiteY95" fmla="*/ 1102995 h 2374582"/>
              <a:gd name="connsiteX96" fmla="*/ 168593 w 2375535"/>
              <a:gd name="connsiteY96" fmla="*/ 741045 h 2374582"/>
              <a:gd name="connsiteX97" fmla="*/ 168593 w 2375535"/>
              <a:gd name="connsiteY97" fmla="*/ 1633538 h 2374582"/>
              <a:gd name="connsiteX98" fmla="*/ 531495 w 2375535"/>
              <a:gd name="connsiteY98" fmla="*/ 1271588 h 2374582"/>
              <a:gd name="connsiteX99" fmla="*/ 775335 w 2375535"/>
              <a:gd name="connsiteY99" fmla="*/ 1515428 h 2374582"/>
              <a:gd name="connsiteX100" fmla="*/ 412433 w 2375535"/>
              <a:gd name="connsiteY100" fmla="*/ 1878330 h 2374582"/>
              <a:gd name="connsiteX101" fmla="*/ 168593 w 2375535"/>
              <a:gd name="connsiteY101" fmla="*/ 1633538 h 2374582"/>
              <a:gd name="connsiteX102" fmla="*/ 741045 w 2375535"/>
              <a:gd name="connsiteY102" fmla="*/ 2205990 h 2374582"/>
              <a:gd name="connsiteX103" fmla="*/ 497205 w 2375535"/>
              <a:gd name="connsiteY103" fmla="*/ 1962150 h 2374582"/>
              <a:gd name="connsiteX104" fmla="*/ 860108 w 2375535"/>
              <a:gd name="connsiteY104" fmla="*/ 1599248 h 2374582"/>
              <a:gd name="connsiteX105" fmla="*/ 1044893 w 2375535"/>
              <a:gd name="connsiteY105" fmla="*/ 1784033 h 2374582"/>
              <a:gd name="connsiteX106" fmla="*/ 1044893 w 2375535"/>
              <a:gd name="connsiteY106" fmla="*/ 1784033 h 2374582"/>
              <a:gd name="connsiteX107" fmla="*/ 1103948 w 2375535"/>
              <a:gd name="connsiteY107" fmla="*/ 1843088 h 2374582"/>
              <a:gd name="connsiteX108" fmla="*/ 741045 w 2375535"/>
              <a:gd name="connsiteY108" fmla="*/ 2205990 h 2374582"/>
              <a:gd name="connsiteX109" fmla="*/ 1634490 w 2375535"/>
              <a:gd name="connsiteY109" fmla="*/ 2205990 h 2374582"/>
              <a:gd name="connsiteX110" fmla="*/ 1271588 w 2375535"/>
              <a:gd name="connsiteY110" fmla="*/ 1843088 h 2374582"/>
              <a:gd name="connsiteX111" fmla="*/ 1330643 w 2375535"/>
              <a:gd name="connsiteY111" fmla="*/ 1784033 h 2374582"/>
              <a:gd name="connsiteX112" fmla="*/ 1330643 w 2375535"/>
              <a:gd name="connsiteY112" fmla="*/ 1784033 h 2374582"/>
              <a:gd name="connsiteX113" fmla="*/ 1515428 w 2375535"/>
              <a:gd name="connsiteY113" fmla="*/ 1599248 h 2374582"/>
              <a:gd name="connsiteX114" fmla="*/ 1878330 w 2375535"/>
              <a:gd name="connsiteY114" fmla="*/ 1962150 h 2374582"/>
              <a:gd name="connsiteX115" fmla="*/ 1634490 w 2375535"/>
              <a:gd name="connsiteY115" fmla="*/ 2205990 h 2374582"/>
              <a:gd name="connsiteX116" fmla="*/ 2206943 w 2375535"/>
              <a:gd name="connsiteY116" fmla="*/ 1633538 h 2374582"/>
              <a:gd name="connsiteX117" fmla="*/ 1963103 w 2375535"/>
              <a:gd name="connsiteY117" fmla="*/ 1877378 h 2374582"/>
              <a:gd name="connsiteX118" fmla="*/ 1600200 w 2375535"/>
              <a:gd name="connsiteY118" fmla="*/ 1514475 h 2374582"/>
              <a:gd name="connsiteX119" fmla="*/ 1844040 w 2375535"/>
              <a:gd name="connsiteY119" fmla="*/ 1270635 h 2374582"/>
              <a:gd name="connsiteX120" fmla="*/ 2206943 w 2375535"/>
              <a:gd name="connsiteY120" fmla="*/ 1633538 h 237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75535" h="2374582">
                <a:moveTo>
                  <a:pt x="2375535" y="741045"/>
                </a:moveTo>
                <a:lnTo>
                  <a:pt x="1634490" y="0"/>
                </a:lnTo>
                <a:lnTo>
                  <a:pt x="1187768" y="446723"/>
                </a:lnTo>
                <a:lnTo>
                  <a:pt x="741045" y="0"/>
                </a:lnTo>
                <a:lnTo>
                  <a:pt x="0" y="741045"/>
                </a:lnTo>
                <a:lnTo>
                  <a:pt x="446723" y="1187768"/>
                </a:lnTo>
                <a:lnTo>
                  <a:pt x="0" y="1633538"/>
                </a:lnTo>
                <a:lnTo>
                  <a:pt x="741045" y="2374583"/>
                </a:lnTo>
                <a:lnTo>
                  <a:pt x="1187768" y="1927860"/>
                </a:lnTo>
                <a:lnTo>
                  <a:pt x="1634490" y="2374583"/>
                </a:lnTo>
                <a:lnTo>
                  <a:pt x="2375535" y="1633538"/>
                </a:lnTo>
                <a:lnTo>
                  <a:pt x="1928813" y="1186815"/>
                </a:lnTo>
                <a:lnTo>
                  <a:pt x="2375535" y="741045"/>
                </a:lnTo>
                <a:close/>
                <a:moveTo>
                  <a:pt x="2206943" y="741045"/>
                </a:moveTo>
                <a:lnTo>
                  <a:pt x="1844040" y="1103948"/>
                </a:lnTo>
                <a:lnTo>
                  <a:pt x="1600200" y="860108"/>
                </a:lnTo>
                <a:lnTo>
                  <a:pt x="1963103" y="497205"/>
                </a:lnTo>
                <a:lnTo>
                  <a:pt x="2206943" y="741045"/>
                </a:lnTo>
                <a:close/>
                <a:moveTo>
                  <a:pt x="1616393" y="1043940"/>
                </a:moveTo>
                <a:lnTo>
                  <a:pt x="1557338" y="1102995"/>
                </a:lnTo>
                <a:lnTo>
                  <a:pt x="1271588" y="817245"/>
                </a:lnTo>
                <a:lnTo>
                  <a:pt x="1330643" y="758190"/>
                </a:lnTo>
                <a:lnTo>
                  <a:pt x="1616393" y="1043940"/>
                </a:lnTo>
                <a:close/>
                <a:moveTo>
                  <a:pt x="1187768" y="1102995"/>
                </a:moveTo>
                <a:lnTo>
                  <a:pt x="1086803" y="1002030"/>
                </a:lnTo>
                <a:lnTo>
                  <a:pt x="1187768" y="902018"/>
                </a:lnTo>
                <a:lnTo>
                  <a:pt x="1288733" y="1002983"/>
                </a:lnTo>
                <a:lnTo>
                  <a:pt x="1187768" y="1102995"/>
                </a:lnTo>
                <a:close/>
                <a:moveTo>
                  <a:pt x="1002983" y="1086803"/>
                </a:moveTo>
                <a:lnTo>
                  <a:pt x="1103948" y="1187768"/>
                </a:lnTo>
                <a:lnTo>
                  <a:pt x="1002983" y="1288733"/>
                </a:lnTo>
                <a:lnTo>
                  <a:pt x="902018" y="1187768"/>
                </a:lnTo>
                <a:lnTo>
                  <a:pt x="1002983" y="1086803"/>
                </a:lnTo>
                <a:close/>
                <a:moveTo>
                  <a:pt x="1187768" y="1271588"/>
                </a:moveTo>
                <a:lnTo>
                  <a:pt x="1288733" y="1372553"/>
                </a:lnTo>
                <a:lnTo>
                  <a:pt x="1187768" y="1473518"/>
                </a:lnTo>
                <a:lnTo>
                  <a:pt x="1086803" y="1372553"/>
                </a:lnTo>
                <a:lnTo>
                  <a:pt x="1187768" y="1271588"/>
                </a:lnTo>
                <a:close/>
                <a:moveTo>
                  <a:pt x="1372553" y="1287780"/>
                </a:moveTo>
                <a:lnTo>
                  <a:pt x="1271588" y="1186815"/>
                </a:lnTo>
                <a:lnTo>
                  <a:pt x="1372553" y="1085850"/>
                </a:lnTo>
                <a:lnTo>
                  <a:pt x="1473518" y="1186815"/>
                </a:lnTo>
                <a:lnTo>
                  <a:pt x="1372553" y="1287780"/>
                </a:lnTo>
                <a:close/>
                <a:moveTo>
                  <a:pt x="1187768" y="733425"/>
                </a:moveTo>
                <a:lnTo>
                  <a:pt x="1128713" y="674370"/>
                </a:lnTo>
                <a:lnTo>
                  <a:pt x="1187768" y="615315"/>
                </a:lnTo>
                <a:lnTo>
                  <a:pt x="1246823" y="674370"/>
                </a:lnTo>
                <a:lnTo>
                  <a:pt x="1187768" y="733425"/>
                </a:lnTo>
                <a:close/>
                <a:moveTo>
                  <a:pt x="1103948" y="817245"/>
                </a:moveTo>
                <a:lnTo>
                  <a:pt x="818198" y="1102995"/>
                </a:lnTo>
                <a:lnTo>
                  <a:pt x="759143" y="1043940"/>
                </a:lnTo>
                <a:lnTo>
                  <a:pt x="1044893" y="758190"/>
                </a:lnTo>
                <a:lnTo>
                  <a:pt x="1103948" y="817245"/>
                </a:lnTo>
                <a:close/>
                <a:moveTo>
                  <a:pt x="674370" y="1127760"/>
                </a:moveTo>
                <a:lnTo>
                  <a:pt x="733425" y="1186815"/>
                </a:lnTo>
                <a:lnTo>
                  <a:pt x="674370" y="1245870"/>
                </a:lnTo>
                <a:lnTo>
                  <a:pt x="615315" y="1186815"/>
                </a:lnTo>
                <a:lnTo>
                  <a:pt x="674370" y="1127760"/>
                </a:lnTo>
                <a:close/>
                <a:moveTo>
                  <a:pt x="759143" y="1330643"/>
                </a:moveTo>
                <a:lnTo>
                  <a:pt x="818198" y="1271588"/>
                </a:lnTo>
                <a:lnTo>
                  <a:pt x="1103948" y="1557338"/>
                </a:lnTo>
                <a:lnTo>
                  <a:pt x="1044893" y="1616393"/>
                </a:lnTo>
                <a:lnTo>
                  <a:pt x="759143" y="1330643"/>
                </a:lnTo>
                <a:close/>
                <a:moveTo>
                  <a:pt x="1187768" y="1641158"/>
                </a:moveTo>
                <a:lnTo>
                  <a:pt x="1246823" y="1700213"/>
                </a:lnTo>
                <a:lnTo>
                  <a:pt x="1187768" y="1759268"/>
                </a:lnTo>
                <a:lnTo>
                  <a:pt x="1128713" y="1700213"/>
                </a:lnTo>
                <a:lnTo>
                  <a:pt x="1187768" y="1641158"/>
                </a:lnTo>
                <a:close/>
                <a:moveTo>
                  <a:pt x="1271588" y="1556385"/>
                </a:moveTo>
                <a:lnTo>
                  <a:pt x="1557338" y="1270635"/>
                </a:lnTo>
                <a:lnTo>
                  <a:pt x="1616393" y="1329690"/>
                </a:lnTo>
                <a:lnTo>
                  <a:pt x="1330643" y="1615440"/>
                </a:lnTo>
                <a:lnTo>
                  <a:pt x="1271588" y="1556385"/>
                </a:lnTo>
                <a:close/>
                <a:moveTo>
                  <a:pt x="1701165" y="1246823"/>
                </a:moveTo>
                <a:lnTo>
                  <a:pt x="1642110" y="1187768"/>
                </a:lnTo>
                <a:lnTo>
                  <a:pt x="1701165" y="1128713"/>
                </a:lnTo>
                <a:lnTo>
                  <a:pt x="1760220" y="1187768"/>
                </a:lnTo>
                <a:lnTo>
                  <a:pt x="1701165" y="1246823"/>
                </a:lnTo>
                <a:close/>
                <a:moveTo>
                  <a:pt x="1634490" y="168593"/>
                </a:moveTo>
                <a:lnTo>
                  <a:pt x="1878330" y="412432"/>
                </a:lnTo>
                <a:lnTo>
                  <a:pt x="1515428" y="775335"/>
                </a:lnTo>
                <a:lnTo>
                  <a:pt x="1331595" y="589598"/>
                </a:lnTo>
                <a:lnTo>
                  <a:pt x="1331595" y="589598"/>
                </a:lnTo>
                <a:lnTo>
                  <a:pt x="1272540" y="530543"/>
                </a:lnTo>
                <a:lnTo>
                  <a:pt x="1634490" y="168593"/>
                </a:lnTo>
                <a:close/>
                <a:moveTo>
                  <a:pt x="741045" y="168593"/>
                </a:moveTo>
                <a:lnTo>
                  <a:pt x="1103948" y="530543"/>
                </a:lnTo>
                <a:lnTo>
                  <a:pt x="1044893" y="589598"/>
                </a:lnTo>
                <a:lnTo>
                  <a:pt x="1044893" y="589598"/>
                </a:lnTo>
                <a:lnTo>
                  <a:pt x="859155" y="774383"/>
                </a:lnTo>
                <a:lnTo>
                  <a:pt x="497205" y="412432"/>
                </a:lnTo>
                <a:lnTo>
                  <a:pt x="741045" y="168593"/>
                </a:lnTo>
                <a:close/>
                <a:moveTo>
                  <a:pt x="168593" y="741045"/>
                </a:moveTo>
                <a:lnTo>
                  <a:pt x="412433" y="497205"/>
                </a:lnTo>
                <a:lnTo>
                  <a:pt x="775335" y="860108"/>
                </a:lnTo>
                <a:lnTo>
                  <a:pt x="531495" y="1102995"/>
                </a:lnTo>
                <a:lnTo>
                  <a:pt x="168593" y="741045"/>
                </a:lnTo>
                <a:close/>
                <a:moveTo>
                  <a:pt x="168593" y="1633538"/>
                </a:moveTo>
                <a:lnTo>
                  <a:pt x="531495" y="1271588"/>
                </a:lnTo>
                <a:lnTo>
                  <a:pt x="775335" y="1515428"/>
                </a:lnTo>
                <a:lnTo>
                  <a:pt x="412433" y="1878330"/>
                </a:lnTo>
                <a:lnTo>
                  <a:pt x="168593" y="1633538"/>
                </a:lnTo>
                <a:close/>
                <a:moveTo>
                  <a:pt x="741045" y="2205990"/>
                </a:moveTo>
                <a:lnTo>
                  <a:pt x="497205" y="1962150"/>
                </a:lnTo>
                <a:lnTo>
                  <a:pt x="860108" y="1599248"/>
                </a:lnTo>
                <a:lnTo>
                  <a:pt x="1044893" y="1784033"/>
                </a:lnTo>
                <a:lnTo>
                  <a:pt x="1044893" y="1784033"/>
                </a:lnTo>
                <a:lnTo>
                  <a:pt x="1103948" y="1843088"/>
                </a:lnTo>
                <a:lnTo>
                  <a:pt x="741045" y="2205990"/>
                </a:lnTo>
                <a:close/>
                <a:moveTo>
                  <a:pt x="1634490" y="2205990"/>
                </a:moveTo>
                <a:lnTo>
                  <a:pt x="1271588" y="1843088"/>
                </a:lnTo>
                <a:lnTo>
                  <a:pt x="1330643" y="1784033"/>
                </a:lnTo>
                <a:lnTo>
                  <a:pt x="1330643" y="1784033"/>
                </a:lnTo>
                <a:lnTo>
                  <a:pt x="1515428" y="1599248"/>
                </a:lnTo>
                <a:lnTo>
                  <a:pt x="1878330" y="1962150"/>
                </a:lnTo>
                <a:lnTo>
                  <a:pt x="1634490" y="2205990"/>
                </a:lnTo>
                <a:close/>
                <a:moveTo>
                  <a:pt x="2206943" y="1633538"/>
                </a:moveTo>
                <a:lnTo>
                  <a:pt x="1963103" y="1877378"/>
                </a:lnTo>
                <a:lnTo>
                  <a:pt x="1600200" y="1514475"/>
                </a:lnTo>
                <a:lnTo>
                  <a:pt x="1844040" y="1270635"/>
                </a:lnTo>
                <a:lnTo>
                  <a:pt x="2206943" y="1633538"/>
                </a:lnTo>
                <a:close/>
              </a:path>
            </a:pathLst>
          </a:custGeom>
          <a:gradFill>
            <a:gsLst>
              <a:gs pos="0">
                <a:schemeClr val="accent6">
                  <a:alpha val="15000"/>
                </a:schemeClr>
              </a:gs>
              <a:gs pos="100000">
                <a:schemeClr val="accent3">
                  <a:alpha val="15000"/>
                </a:schemeClr>
              </a:gs>
            </a:gsLst>
            <a:lin ang="13800000" scaled="0"/>
          </a:gradFill>
          <a:ln w="9525" cap="flat">
            <a:noFill/>
            <a:prstDash val="solid"/>
            <a:miter/>
          </a:ln>
        </p:spPr>
        <p:txBody>
          <a:bodyPr rtlCol="0" anchor="ctr"/>
          <a:lstStyle/>
          <a:p>
            <a:pPr rtl="0">
              <a:lnSpc>
                <a:spcPct val="100000"/>
              </a:lnSpc>
            </a:pPr>
            <a:endParaRPr lang="en-US">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7" name="Graphic 4">
            <a:extLst>
              <a:ext uri="{FF2B5EF4-FFF2-40B4-BE49-F238E27FC236}">
                <a16:creationId xmlns:a16="http://schemas.microsoft.com/office/drawing/2014/main" id="{D931F874-6C1D-71C2-E93A-F64319C40171}"/>
              </a:ext>
            </a:extLst>
          </p:cNvPr>
          <p:cNvSpPr/>
          <p:nvPr/>
        </p:nvSpPr>
        <p:spPr>
          <a:xfrm>
            <a:off x="6776576" y="1066800"/>
            <a:ext cx="4855888" cy="4853940"/>
          </a:xfrm>
          <a:custGeom>
            <a:avLst/>
            <a:gdLst>
              <a:gd name="connsiteX0" fmla="*/ 2375535 w 2375535"/>
              <a:gd name="connsiteY0" fmla="*/ 741045 h 2374582"/>
              <a:gd name="connsiteX1" fmla="*/ 1634490 w 2375535"/>
              <a:gd name="connsiteY1" fmla="*/ 0 h 2374582"/>
              <a:gd name="connsiteX2" fmla="*/ 1187768 w 2375535"/>
              <a:gd name="connsiteY2" fmla="*/ 446723 h 2374582"/>
              <a:gd name="connsiteX3" fmla="*/ 741045 w 2375535"/>
              <a:gd name="connsiteY3" fmla="*/ 0 h 2374582"/>
              <a:gd name="connsiteX4" fmla="*/ 0 w 2375535"/>
              <a:gd name="connsiteY4" fmla="*/ 741045 h 2374582"/>
              <a:gd name="connsiteX5" fmla="*/ 446723 w 2375535"/>
              <a:gd name="connsiteY5" fmla="*/ 1187768 h 2374582"/>
              <a:gd name="connsiteX6" fmla="*/ 0 w 2375535"/>
              <a:gd name="connsiteY6" fmla="*/ 1633538 h 2374582"/>
              <a:gd name="connsiteX7" fmla="*/ 741045 w 2375535"/>
              <a:gd name="connsiteY7" fmla="*/ 2374583 h 2374582"/>
              <a:gd name="connsiteX8" fmla="*/ 1187768 w 2375535"/>
              <a:gd name="connsiteY8" fmla="*/ 1927860 h 2374582"/>
              <a:gd name="connsiteX9" fmla="*/ 1634490 w 2375535"/>
              <a:gd name="connsiteY9" fmla="*/ 2374583 h 2374582"/>
              <a:gd name="connsiteX10" fmla="*/ 2375535 w 2375535"/>
              <a:gd name="connsiteY10" fmla="*/ 1633538 h 2374582"/>
              <a:gd name="connsiteX11" fmla="*/ 1928813 w 2375535"/>
              <a:gd name="connsiteY11" fmla="*/ 1186815 h 2374582"/>
              <a:gd name="connsiteX12" fmla="*/ 2375535 w 2375535"/>
              <a:gd name="connsiteY12" fmla="*/ 741045 h 2374582"/>
              <a:gd name="connsiteX13" fmla="*/ 2206943 w 2375535"/>
              <a:gd name="connsiteY13" fmla="*/ 741045 h 2374582"/>
              <a:gd name="connsiteX14" fmla="*/ 1844040 w 2375535"/>
              <a:gd name="connsiteY14" fmla="*/ 1103948 h 2374582"/>
              <a:gd name="connsiteX15" fmla="*/ 1600200 w 2375535"/>
              <a:gd name="connsiteY15" fmla="*/ 860108 h 2374582"/>
              <a:gd name="connsiteX16" fmla="*/ 1963103 w 2375535"/>
              <a:gd name="connsiteY16" fmla="*/ 497205 h 2374582"/>
              <a:gd name="connsiteX17" fmla="*/ 2206943 w 2375535"/>
              <a:gd name="connsiteY17" fmla="*/ 741045 h 2374582"/>
              <a:gd name="connsiteX18" fmla="*/ 1616393 w 2375535"/>
              <a:gd name="connsiteY18" fmla="*/ 1043940 h 2374582"/>
              <a:gd name="connsiteX19" fmla="*/ 1557338 w 2375535"/>
              <a:gd name="connsiteY19" fmla="*/ 1102995 h 2374582"/>
              <a:gd name="connsiteX20" fmla="*/ 1271588 w 2375535"/>
              <a:gd name="connsiteY20" fmla="*/ 817245 h 2374582"/>
              <a:gd name="connsiteX21" fmla="*/ 1330643 w 2375535"/>
              <a:gd name="connsiteY21" fmla="*/ 758190 h 2374582"/>
              <a:gd name="connsiteX22" fmla="*/ 1616393 w 2375535"/>
              <a:gd name="connsiteY22" fmla="*/ 1043940 h 2374582"/>
              <a:gd name="connsiteX23" fmla="*/ 1187768 w 2375535"/>
              <a:gd name="connsiteY23" fmla="*/ 1102995 h 2374582"/>
              <a:gd name="connsiteX24" fmla="*/ 1086803 w 2375535"/>
              <a:gd name="connsiteY24" fmla="*/ 1002030 h 2374582"/>
              <a:gd name="connsiteX25" fmla="*/ 1187768 w 2375535"/>
              <a:gd name="connsiteY25" fmla="*/ 902018 h 2374582"/>
              <a:gd name="connsiteX26" fmla="*/ 1288733 w 2375535"/>
              <a:gd name="connsiteY26" fmla="*/ 1002983 h 2374582"/>
              <a:gd name="connsiteX27" fmla="*/ 1187768 w 2375535"/>
              <a:gd name="connsiteY27" fmla="*/ 1102995 h 2374582"/>
              <a:gd name="connsiteX28" fmla="*/ 1002983 w 2375535"/>
              <a:gd name="connsiteY28" fmla="*/ 1086803 h 2374582"/>
              <a:gd name="connsiteX29" fmla="*/ 1103948 w 2375535"/>
              <a:gd name="connsiteY29" fmla="*/ 1187768 h 2374582"/>
              <a:gd name="connsiteX30" fmla="*/ 1002983 w 2375535"/>
              <a:gd name="connsiteY30" fmla="*/ 1288733 h 2374582"/>
              <a:gd name="connsiteX31" fmla="*/ 902018 w 2375535"/>
              <a:gd name="connsiteY31" fmla="*/ 1187768 h 2374582"/>
              <a:gd name="connsiteX32" fmla="*/ 1002983 w 2375535"/>
              <a:gd name="connsiteY32" fmla="*/ 1086803 h 2374582"/>
              <a:gd name="connsiteX33" fmla="*/ 1187768 w 2375535"/>
              <a:gd name="connsiteY33" fmla="*/ 1271588 h 2374582"/>
              <a:gd name="connsiteX34" fmla="*/ 1288733 w 2375535"/>
              <a:gd name="connsiteY34" fmla="*/ 1372553 h 2374582"/>
              <a:gd name="connsiteX35" fmla="*/ 1187768 w 2375535"/>
              <a:gd name="connsiteY35" fmla="*/ 1473518 h 2374582"/>
              <a:gd name="connsiteX36" fmla="*/ 1086803 w 2375535"/>
              <a:gd name="connsiteY36" fmla="*/ 1372553 h 2374582"/>
              <a:gd name="connsiteX37" fmla="*/ 1187768 w 2375535"/>
              <a:gd name="connsiteY37" fmla="*/ 1271588 h 2374582"/>
              <a:gd name="connsiteX38" fmla="*/ 1372553 w 2375535"/>
              <a:gd name="connsiteY38" fmla="*/ 1287780 h 2374582"/>
              <a:gd name="connsiteX39" fmla="*/ 1271588 w 2375535"/>
              <a:gd name="connsiteY39" fmla="*/ 1186815 h 2374582"/>
              <a:gd name="connsiteX40" fmla="*/ 1372553 w 2375535"/>
              <a:gd name="connsiteY40" fmla="*/ 1085850 h 2374582"/>
              <a:gd name="connsiteX41" fmla="*/ 1473518 w 2375535"/>
              <a:gd name="connsiteY41" fmla="*/ 1186815 h 2374582"/>
              <a:gd name="connsiteX42" fmla="*/ 1372553 w 2375535"/>
              <a:gd name="connsiteY42" fmla="*/ 1287780 h 2374582"/>
              <a:gd name="connsiteX43" fmla="*/ 1187768 w 2375535"/>
              <a:gd name="connsiteY43" fmla="*/ 733425 h 2374582"/>
              <a:gd name="connsiteX44" fmla="*/ 1128713 w 2375535"/>
              <a:gd name="connsiteY44" fmla="*/ 674370 h 2374582"/>
              <a:gd name="connsiteX45" fmla="*/ 1187768 w 2375535"/>
              <a:gd name="connsiteY45" fmla="*/ 615315 h 2374582"/>
              <a:gd name="connsiteX46" fmla="*/ 1246823 w 2375535"/>
              <a:gd name="connsiteY46" fmla="*/ 674370 h 2374582"/>
              <a:gd name="connsiteX47" fmla="*/ 1187768 w 2375535"/>
              <a:gd name="connsiteY47" fmla="*/ 733425 h 2374582"/>
              <a:gd name="connsiteX48" fmla="*/ 1103948 w 2375535"/>
              <a:gd name="connsiteY48" fmla="*/ 817245 h 2374582"/>
              <a:gd name="connsiteX49" fmla="*/ 818198 w 2375535"/>
              <a:gd name="connsiteY49" fmla="*/ 1102995 h 2374582"/>
              <a:gd name="connsiteX50" fmla="*/ 759143 w 2375535"/>
              <a:gd name="connsiteY50" fmla="*/ 1043940 h 2374582"/>
              <a:gd name="connsiteX51" fmla="*/ 1044893 w 2375535"/>
              <a:gd name="connsiteY51" fmla="*/ 758190 h 2374582"/>
              <a:gd name="connsiteX52" fmla="*/ 1103948 w 2375535"/>
              <a:gd name="connsiteY52" fmla="*/ 817245 h 2374582"/>
              <a:gd name="connsiteX53" fmla="*/ 674370 w 2375535"/>
              <a:gd name="connsiteY53" fmla="*/ 1127760 h 2374582"/>
              <a:gd name="connsiteX54" fmla="*/ 733425 w 2375535"/>
              <a:gd name="connsiteY54" fmla="*/ 1186815 h 2374582"/>
              <a:gd name="connsiteX55" fmla="*/ 674370 w 2375535"/>
              <a:gd name="connsiteY55" fmla="*/ 1245870 h 2374582"/>
              <a:gd name="connsiteX56" fmla="*/ 615315 w 2375535"/>
              <a:gd name="connsiteY56" fmla="*/ 1186815 h 2374582"/>
              <a:gd name="connsiteX57" fmla="*/ 674370 w 2375535"/>
              <a:gd name="connsiteY57" fmla="*/ 1127760 h 2374582"/>
              <a:gd name="connsiteX58" fmla="*/ 759143 w 2375535"/>
              <a:gd name="connsiteY58" fmla="*/ 1330643 h 2374582"/>
              <a:gd name="connsiteX59" fmla="*/ 818198 w 2375535"/>
              <a:gd name="connsiteY59" fmla="*/ 1271588 h 2374582"/>
              <a:gd name="connsiteX60" fmla="*/ 1103948 w 2375535"/>
              <a:gd name="connsiteY60" fmla="*/ 1557338 h 2374582"/>
              <a:gd name="connsiteX61" fmla="*/ 1044893 w 2375535"/>
              <a:gd name="connsiteY61" fmla="*/ 1616393 h 2374582"/>
              <a:gd name="connsiteX62" fmla="*/ 759143 w 2375535"/>
              <a:gd name="connsiteY62" fmla="*/ 1330643 h 2374582"/>
              <a:gd name="connsiteX63" fmla="*/ 1187768 w 2375535"/>
              <a:gd name="connsiteY63" fmla="*/ 1641158 h 2374582"/>
              <a:gd name="connsiteX64" fmla="*/ 1246823 w 2375535"/>
              <a:gd name="connsiteY64" fmla="*/ 1700213 h 2374582"/>
              <a:gd name="connsiteX65" fmla="*/ 1187768 w 2375535"/>
              <a:gd name="connsiteY65" fmla="*/ 1759268 h 2374582"/>
              <a:gd name="connsiteX66" fmla="*/ 1128713 w 2375535"/>
              <a:gd name="connsiteY66" fmla="*/ 1700213 h 2374582"/>
              <a:gd name="connsiteX67" fmla="*/ 1187768 w 2375535"/>
              <a:gd name="connsiteY67" fmla="*/ 1641158 h 2374582"/>
              <a:gd name="connsiteX68" fmla="*/ 1271588 w 2375535"/>
              <a:gd name="connsiteY68" fmla="*/ 1556385 h 2374582"/>
              <a:gd name="connsiteX69" fmla="*/ 1557338 w 2375535"/>
              <a:gd name="connsiteY69" fmla="*/ 1270635 h 2374582"/>
              <a:gd name="connsiteX70" fmla="*/ 1616393 w 2375535"/>
              <a:gd name="connsiteY70" fmla="*/ 1329690 h 2374582"/>
              <a:gd name="connsiteX71" fmla="*/ 1330643 w 2375535"/>
              <a:gd name="connsiteY71" fmla="*/ 1615440 h 2374582"/>
              <a:gd name="connsiteX72" fmla="*/ 1271588 w 2375535"/>
              <a:gd name="connsiteY72" fmla="*/ 1556385 h 2374582"/>
              <a:gd name="connsiteX73" fmla="*/ 1701165 w 2375535"/>
              <a:gd name="connsiteY73" fmla="*/ 1246823 h 2374582"/>
              <a:gd name="connsiteX74" fmla="*/ 1642110 w 2375535"/>
              <a:gd name="connsiteY74" fmla="*/ 1187768 h 2374582"/>
              <a:gd name="connsiteX75" fmla="*/ 1701165 w 2375535"/>
              <a:gd name="connsiteY75" fmla="*/ 1128713 h 2374582"/>
              <a:gd name="connsiteX76" fmla="*/ 1760220 w 2375535"/>
              <a:gd name="connsiteY76" fmla="*/ 1187768 h 2374582"/>
              <a:gd name="connsiteX77" fmla="*/ 1701165 w 2375535"/>
              <a:gd name="connsiteY77" fmla="*/ 1246823 h 2374582"/>
              <a:gd name="connsiteX78" fmla="*/ 1634490 w 2375535"/>
              <a:gd name="connsiteY78" fmla="*/ 168593 h 2374582"/>
              <a:gd name="connsiteX79" fmla="*/ 1878330 w 2375535"/>
              <a:gd name="connsiteY79" fmla="*/ 412432 h 2374582"/>
              <a:gd name="connsiteX80" fmla="*/ 1515428 w 2375535"/>
              <a:gd name="connsiteY80" fmla="*/ 775335 h 2374582"/>
              <a:gd name="connsiteX81" fmla="*/ 1331595 w 2375535"/>
              <a:gd name="connsiteY81" fmla="*/ 589598 h 2374582"/>
              <a:gd name="connsiteX82" fmla="*/ 1331595 w 2375535"/>
              <a:gd name="connsiteY82" fmla="*/ 589598 h 2374582"/>
              <a:gd name="connsiteX83" fmla="*/ 1272540 w 2375535"/>
              <a:gd name="connsiteY83" fmla="*/ 530543 h 2374582"/>
              <a:gd name="connsiteX84" fmla="*/ 1634490 w 2375535"/>
              <a:gd name="connsiteY84" fmla="*/ 168593 h 2374582"/>
              <a:gd name="connsiteX85" fmla="*/ 741045 w 2375535"/>
              <a:gd name="connsiteY85" fmla="*/ 168593 h 2374582"/>
              <a:gd name="connsiteX86" fmla="*/ 1103948 w 2375535"/>
              <a:gd name="connsiteY86" fmla="*/ 530543 h 2374582"/>
              <a:gd name="connsiteX87" fmla="*/ 1044893 w 2375535"/>
              <a:gd name="connsiteY87" fmla="*/ 589598 h 2374582"/>
              <a:gd name="connsiteX88" fmla="*/ 1044893 w 2375535"/>
              <a:gd name="connsiteY88" fmla="*/ 589598 h 2374582"/>
              <a:gd name="connsiteX89" fmla="*/ 859155 w 2375535"/>
              <a:gd name="connsiteY89" fmla="*/ 774383 h 2374582"/>
              <a:gd name="connsiteX90" fmla="*/ 497205 w 2375535"/>
              <a:gd name="connsiteY90" fmla="*/ 412432 h 2374582"/>
              <a:gd name="connsiteX91" fmla="*/ 741045 w 2375535"/>
              <a:gd name="connsiteY91" fmla="*/ 168593 h 2374582"/>
              <a:gd name="connsiteX92" fmla="*/ 168593 w 2375535"/>
              <a:gd name="connsiteY92" fmla="*/ 741045 h 2374582"/>
              <a:gd name="connsiteX93" fmla="*/ 412433 w 2375535"/>
              <a:gd name="connsiteY93" fmla="*/ 497205 h 2374582"/>
              <a:gd name="connsiteX94" fmla="*/ 775335 w 2375535"/>
              <a:gd name="connsiteY94" fmla="*/ 860108 h 2374582"/>
              <a:gd name="connsiteX95" fmla="*/ 531495 w 2375535"/>
              <a:gd name="connsiteY95" fmla="*/ 1102995 h 2374582"/>
              <a:gd name="connsiteX96" fmla="*/ 168593 w 2375535"/>
              <a:gd name="connsiteY96" fmla="*/ 741045 h 2374582"/>
              <a:gd name="connsiteX97" fmla="*/ 168593 w 2375535"/>
              <a:gd name="connsiteY97" fmla="*/ 1633538 h 2374582"/>
              <a:gd name="connsiteX98" fmla="*/ 531495 w 2375535"/>
              <a:gd name="connsiteY98" fmla="*/ 1271588 h 2374582"/>
              <a:gd name="connsiteX99" fmla="*/ 775335 w 2375535"/>
              <a:gd name="connsiteY99" fmla="*/ 1515428 h 2374582"/>
              <a:gd name="connsiteX100" fmla="*/ 412433 w 2375535"/>
              <a:gd name="connsiteY100" fmla="*/ 1878330 h 2374582"/>
              <a:gd name="connsiteX101" fmla="*/ 168593 w 2375535"/>
              <a:gd name="connsiteY101" fmla="*/ 1633538 h 2374582"/>
              <a:gd name="connsiteX102" fmla="*/ 741045 w 2375535"/>
              <a:gd name="connsiteY102" fmla="*/ 2205990 h 2374582"/>
              <a:gd name="connsiteX103" fmla="*/ 497205 w 2375535"/>
              <a:gd name="connsiteY103" fmla="*/ 1962150 h 2374582"/>
              <a:gd name="connsiteX104" fmla="*/ 860108 w 2375535"/>
              <a:gd name="connsiteY104" fmla="*/ 1599248 h 2374582"/>
              <a:gd name="connsiteX105" fmla="*/ 1044893 w 2375535"/>
              <a:gd name="connsiteY105" fmla="*/ 1784033 h 2374582"/>
              <a:gd name="connsiteX106" fmla="*/ 1044893 w 2375535"/>
              <a:gd name="connsiteY106" fmla="*/ 1784033 h 2374582"/>
              <a:gd name="connsiteX107" fmla="*/ 1103948 w 2375535"/>
              <a:gd name="connsiteY107" fmla="*/ 1843088 h 2374582"/>
              <a:gd name="connsiteX108" fmla="*/ 741045 w 2375535"/>
              <a:gd name="connsiteY108" fmla="*/ 2205990 h 2374582"/>
              <a:gd name="connsiteX109" fmla="*/ 1634490 w 2375535"/>
              <a:gd name="connsiteY109" fmla="*/ 2205990 h 2374582"/>
              <a:gd name="connsiteX110" fmla="*/ 1271588 w 2375535"/>
              <a:gd name="connsiteY110" fmla="*/ 1843088 h 2374582"/>
              <a:gd name="connsiteX111" fmla="*/ 1330643 w 2375535"/>
              <a:gd name="connsiteY111" fmla="*/ 1784033 h 2374582"/>
              <a:gd name="connsiteX112" fmla="*/ 1330643 w 2375535"/>
              <a:gd name="connsiteY112" fmla="*/ 1784033 h 2374582"/>
              <a:gd name="connsiteX113" fmla="*/ 1515428 w 2375535"/>
              <a:gd name="connsiteY113" fmla="*/ 1599248 h 2374582"/>
              <a:gd name="connsiteX114" fmla="*/ 1878330 w 2375535"/>
              <a:gd name="connsiteY114" fmla="*/ 1962150 h 2374582"/>
              <a:gd name="connsiteX115" fmla="*/ 1634490 w 2375535"/>
              <a:gd name="connsiteY115" fmla="*/ 2205990 h 2374582"/>
              <a:gd name="connsiteX116" fmla="*/ 2206943 w 2375535"/>
              <a:gd name="connsiteY116" fmla="*/ 1633538 h 2374582"/>
              <a:gd name="connsiteX117" fmla="*/ 1963103 w 2375535"/>
              <a:gd name="connsiteY117" fmla="*/ 1877378 h 2374582"/>
              <a:gd name="connsiteX118" fmla="*/ 1600200 w 2375535"/>
              <a:gd name="connsiteY118" fmla="*/ 1514475 h 2374582"/>
              <a:gd name="connsiteX119" fmla="*/ 1844040 w 2375535"/>
              <a:gd name="connsiteY119" fmla="*/ 1270635 h 2374582"/>
              <a:gd name="connsiteX120" fmla="*/ 2206943 w 2375535"/>
              <a:gd name="connsiteY120" fmla="*/ 1633538 h 237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75535" h="2374582">
                <a:moveTo>
                  <a:pt x="2375535" y="741045"/>
                </a:moveTo>
                <a:lnTo>
                  <a:pt x="1634490" y="0"/>
                </a:lnTo>
                <a:lnTo>
                  <a:pt x="1187768" y="446723"/>
                </a:lnTo>
                <a:lnTo>
                  <a:pt x="741045" y="0"/>
                </a:lnTo>
                <a:lnTo>
                  <a:pt x="0" y="741045"/>
                </a:lnTo>
                <a:lnTo>
                  <a:pt x="446723" y="1187768"/>
                </a:lnTo>
                <a:lnTo>
                  <a:pt x="0" y="1633538"/>
                </a:lnTo>
                <a:lnTo>
                  <a:pt x="741045" y="2374583"/>
                </a:lnTo>
                <a:lnTo>
                  <a:pt x="1187768" y="1927860"/>
                </a:lnTo>
                <a:lnTo>
                  <a:pt x="1634490" y="2374583"/>
                </a:lnTo>
                <a:lnTo>
                  <a:pt x="2375535" y="1633538"/>
                </a:lnTo>
                <a:lnTo>
                  <a:pt x="1928813" y="1186815"/>
                </a:lnTo>
                <a:lnTo>
                  <a:pt x="2375535" y="741045"/>
                </a:lnTo>
                <a:close/>
                <a:moveTo>
                  <a:pt x="2206943" y="741045"/>
                </a:moveTo>
                <a:lnTo>
                  <a:pt x="1844040" y="1103948"/>
                </a:lnTo>
                <a:lnTo>
                  <a:pt x="1600200" y="860108"/>
                </a:lnTo>
                <a:lnTo>
                  <a:pt x="1963103" y="497205"/>
                </a:lnTo>
                <a:lnTo>
                  <a:pt x="2206943" y="741045"/>
                </a:lnTo>
                <a:close/>
                <a:moveTo>
                  <a:pt x="1616393" y="1043940"/>
                </a:moveTo>
                <a:lnTo>
                  <a:pt x="1557338" y="1102995"/>
                </a:lnTo>
                <a:lnTo>
                  <a:pt x="1271588" y="817245"/>
                </a:lnTo>
                <a:lnTo>
                  <a:pt x="1330643" y="758190"/>
                </a:lnTo>
                <a:lnTo>
                  <a:pt x="1616393" y="1043940"/>
                </a:lnTo>
                <a:close/>
                <a:moveTo>
                  <a:pt x="1187768" y="1102995"/>
                </a:moveTo>
                <a:lnTo>
                  <a:pt x="1086803" y="1002030"/>
                </a:lnTo>
                <a:lnTo>
                  <a:pt x="1187768" y="902018"/>
                </a:lnTo>
                <a:lnTo>
                  <a:pt x="1288733" y="1002983"/>
                </a:lnTo>
                <a:lnTo>
                  <a:pt x="1187768" y="1102995"/>
                </a:lnTo>
                <a:close/>
                <a:moveTo>
                  <a:pt x="1002983" y="1086803"/>
                </a:moveTo>
                <a:lnTo>
                  <a:pt x="1103948" y="1187768"/>
                </a:lnTo>
                <a:lnTo>
                  <a:pt x="1002983" y="1288733"/>
                </a:lnTo>
                <a:lnTo>
                  <a:pt x="902018" y="1187768"/>
                </a:lnTo>
                <a:lnTo>
                  <a:pt x="1002983" y="1086803"/>
                </a:lnTo>
                <a:close/>
                <a:moveTo>
                  <a:pt x="1187768" y="1271588"/>
                </a:moveTo>
                <a:lnTo>
                  <a:pt x="1288733" y="1372553"/>
                </a:lnTo>
                <a:lnTo>
                  <a:pt x="1187768" y="1473518"/>
                </a:lnTo>
                <a:lnTo>
                  <a:pt x="1086803" y="1372553"/>
                </a:lnTo>
                <a:lnTo>
                  <a:pt x="1187768" y="1271588"/>
                </a:lnTo>
                <a:close/>
                <a:moveTo>
                  <a:pt x="1372553" y="1287780"/>
                </a:moveTo>
                <a:lnTo>
                  <a:pt x="1271588" y="1186815"/>
                </a:lnTo>
                <a:lnTo>
                  <a:pt x="1372553" y="1085850"/>
                </a:lnTo>
                <a:lnTo>
                  <a:pt x="1473518" y="1186815"/>
                </a:lnTo>
                <a:lnTo>
                  <a:pt x="1372553" y="1287780"/>
                </a:lnTo>
                <a:close/>
                <a:moveTo>
                  <a:pt x="1187768" y="733425"/>
                </a:moveTo>
                <a:lnTo>
                  <a:pt x="1128713" y="674370"/>
                </a:lnTo>
                <a:lnTo>
                  <a:pt x="1187768" y="615315"/>
                </a:lnTo>
                <a:lnTo>
                  <a:pt x="1246823" y="674370"/>
                </a:lnTo>
                <a:lnTo>
                  <a:pt x="1187768" y="733425"/>
                </a:lnTo>
                <a:close/>
                <a:moveTo>
                  <a:pt x="1103948" y="817245"/>
                </a:moveTo>
                <a:lnTo>
                  <a:pt x="818198" y="1102995"/>
                </a:lnTo>
                <a:lnTo>
                  <a:pt x="759143" y="1043940"/>
                </a:lnTo>
                <a:lnTo>
                  <a:pt x="1044893" y="758190"/>
                </a:lnTo>
                <a:lnTo>
                  <a:pt x="1103948" y="817245"/>
                </a:lnTo>
                <a:close/>
                <a:moveTo>
                  <a:pt x="674370" y="1127760"/>
                </a:moveTo>
                <a:lnTo>
                  <a:pt x="733425" y="1186815"/>
                </a:lnTo>
                <a:lnTo>
                  <a:pt x="674370" y="1245870"/>
                </a:lnTo>
                <a:lnTo>
                  <a:pt x="615315" y="1186815"/>
                </a:lnTo>
                <a:lnTo>
                  <a:pt x="674370" y="1127760"/>
                </a:lnTo>
                <a:close/>
                <a:moveTo>
                  <a:pt x="759143" y="1330643"/>
                </a:moveTo>
                <a:lnTo>
                  <a:pt x="818198" y="1271588"/>
                </a:lnTo>
                <a:lnTo>
                  <a:pt x="1103948" y="1557338"/>
                </a:lnTo>
                <a:lnTo>
                  <a:pt x="1044893" y="1616393"/>
                </a:lnTo>
                <a:lnTo>
                  <a:pt x="759143" y="1330643"/>
                </a:lnTo>
                <a:close/>
                <a:moveTo>
                  <a:pt x="1187768" y="1641158"/>
                </a:moveTo>
                <a:lnTo>
                  <a:pt x="1246823" y="1700213"/>
                </a:lnTo>
                <a:lnTo>
                  <a:pt x="1187768" y="1759268"/>
                </a:lnTo>
                <a:lnTo>
                  <a:pt x="1128713" y="1700213"/>
                </a:lnTo>
                <a:lnTo>
                  <a:pt x="1187768" y="1641158"/>
                </a:lnTo>
                <a:close/>
                <a:moveTo>
                  <a:pt x="1271588" y="1556385"/>
                </a:moveTo>
                <a:lnTo>
                  <a:pt x="1557338" y="1270635"/>
                </a:lnTo>
                <a:lnTo>
                  <a:pt x="1616393" y="1329690"/>
                </a:lnTo>
                <a:lnTo>
                  <a:pt x="1330643" y="1615440"/>
                </a:lnTo>
                <a:lnTo>
                  <a:pt x="1271588" y="1556385"/>
                </a:lnTo>
                <a:close/>
                <a:moveTo>
                  <a:pt x="1701165" y="1246823"/>
                </a:moveTo>
                <a:lnTo>
                  <a:pt x="1642110" y="1187768"/>
                </a:lnTo>
                <a:lnTo>
                  <a:pt x="1701165" y="1128713"/>
                </a:lnTo>
                <a:lnTo>
                  <a:pt x="1760220" y="1187768"/>
                </a:lnTo>
                <a:lnTo>
                  <a:pt x="1701165" y="1246823"/>
                </a:lnTo>
                <a:close/>
                <a:moveTo>
                  <a:pt x="1634490" y="168593"/>
                </a:moveTo>
                <a:lnTo>
                  <a:pt x="1878330" y="412432"/>
                </a:lnTo>
                <a:lnTo>
                  <a:pt x="1515428" y="775335"/>
                </a:lnTo>
                <a:lnTo>
                  <a:pt x="1331595" y="589598"/>
                </a:lnTo>
                <a:lnTo>
                  <a:pt x="1331595" y="589598"/>
                </a:lnTo>
                <a:lnTo>
                  <a:pt x="1272540" y="530543"/>
                </a:lnTo>
                <a:lnTo>
                  <a:pt x="1634490" y="168593"/>
                </a:lnTo>
                <a:close/>
                <a:moveTo>
                  <a:pt x="741045" y="168593"/>
                </a:moveTo>
                <a:lnTo>
                  <a:pt x="1103948" y="530543"/>
                </a:lnTo>
                <a:lnTo>
                  <a:pt x="1044893" y="589598"/>
                </a:lnTo>
                <a:lnTo>
                  <a:pt x="1044893" y="589598"/>
                </a:lnTo>
                <a:lnTo>
                  <a:pt x="859155" y="774383"/>
                </a:lnTo>
                <a:lnTo>
                  <a:pt x="497205" y="412432"/>
                </a:lnTo>
                <a:lnTo>
                  <a:pt x="741045" y="168593"/>
                </a:lnTo>
                <a:close/>
                <a:moveTo>
                  <a:pt x="168593" y="741045"/>
                </a:moveTo>
                <a:lnTo>
                  <a:pt x="412433" y="497205"/>
                </a:lnTo>
                <a:lnTo>
                  <a:pt x="775335" y="860108"/>
                </a:lnTo>
                <a:lnTo>
                  <a:pt x="531495" y="1102995"/>
                </a:lnTo>
                <a:lnTo>
                  <a:pt x="168593" y="741045"/>
                </a:lnTo>
                <a:close/>
                <a:moveTo>
                  <a:pt x="168593" y="1633538"/>
                </a:moveTo>
                <a:lnTo>
                  <a:pt x="531495" y="1271588"/>
                </a:lnTo>
                <a:lnTo>
                  <a:pt x="775335" y="1515428"/>
                </a:lnTo>
                <a:lnTo>
                  <a:pt x="412433" y="1878330"/>
                </a:lnTo>
                <a:lnTo>
                  <a:pt x="168593" y="1633538"/>
                </a:lnTo>
                <a:close/>
                <a:moveTo>
                  <a:pt x="741045" y="2205990"/>
                </a:moveTo>
                <a:lnTo>
                  <a:pt x="497205" y="1962150"/>
                </a:lnTo>
                <a:lnTo>
                  <a:pt x="860108" y="1599248"/>
                </a:lnTo>
                <a:lnTo>
                  <a:pt x="1044893" y="1784033"/>
                </a:lnTo>
                <a:lnTo>
                  <a:pt x="1044893" y="1784033"/>
                </a:lnTo>
                <a:lnTo>
                  <a:pt x="1103948" y="1843088"/>
                </a:lnTo>
                <a:lnTo>
                  <a:pt x="741045" y="2205990"/>
                </a:lnTo>
                <a:close/>
                <a:moveTo>
                  <a:pt x="1634490" y="2205990"/>
                </a:moveTo>
                <a:lnTo>
                  <a:pt x="1271588" y="1843088"/>
                </a:lnTo>
                <a:lnTo>
                  <a:pt x="1330643" y="1784033"/>
                </a:lnTo>
                <a:lnTo>
                  <a:pt x="1330643" y="1784033"/>
                </a:lnTo>
                <a:lnTo>
                  <a:pt x="1515428" y="1599248"/>
                </a:lnTo>
                <a:lnTo>
                  <a:pt x="1878330" y="1962150"/>
                </a:lnTo>
                <a:lnTo>
                  <a:pt x="1634490" y="2205990"/>
                </a:lnTo>
                <a:close/>
                <a:moveTo>
                  <a:pt x="2206943" y="1633538"/>
                </a:moveTo>
                <a:lnTo>
                  <a:pt x="1963103" y="1877378"/>
                </a:lnTo>
                <a:lnTo>
                  <a:pt x="1600200" y="1514475"/>
                </a:lnTo>
                <a:lnTo>
                  <a:pt x="1844040" y="1270635"/>
                </a:lnTo>
                <a:lnTo>
                  <a:pt x="2206943" y="1633538"/>
                </a:lnTo>
                <a:close/>
              </a:path>
            </a:pathLst>
          </a:custGeom>
          <a:gradFill>
            <a:gsLst>
              <a:gs pos="0">
                <a:schemeClr val="accent1"/>
              </a:gs>
              <a:gs pos="100000">
                <a:schemeClr val="accent3"/>
              </a:gs>
            </a:gsLst>
            <a:lin ang="2700000" scaled="0"/>
          </a:gradFill>
          <a:ln w="9525" cap="flat">
            <a:noFill/>
            <a:prstDash val="solid"/>
            <a:miter/>
          </a:ln>
        </p:spPr>
        <p:txBody>
          <a:bodyPr rtlCol="0" anchor="ctr"/>
          <a:lstStyle/>
          <a:p>
            <a:pPr rtl="0">
              <a:lnSpc>
                <a:spcPct val="100000"/>
              </a:lnSpc>
            </a:pPr>
            <a:endParaRPr lang="en-US">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Content Placeholder 29">
            <a:extLst>
              <a:ext uri="{FF2B5EF4-FFF2-40B4-BE49-F238E27FC236}">
                <a16:creationId xmlns:a16="http://schemas.microsoft.com/office/drawing/2014/main" id="{C529C196-ED00-BC04-8775-5FEF575AC910}"/>
              </a:ext>
            </a:extLst>
          </p:cNvPr>
          <p:cNvSpPr>
            <a:spLocks noGrp="1"/>
          </p:cNvSpPr>
          <p:nvPr>
            <p:ph sz="quarter" idx="12" hasCustomPrompt="1"/>
          </p:nvPr>
        </p:nvSpPr>
        <p:spPr>
          <a:xfrm>
            <a:off x="552449" y="4626248"/>
            <a:ext cx="2952750" cy="969963"/>
          </a:xfrm>
          <a:prstGeom prst="rect">
            <a:avLst/>
          </a:prstGeom>
        </p:spPr>
        <p:txBody>
          <a:bodyPr/>
          <a:lstStyle>
            <a:lvl1pPr rtl="0">
              <a:lnSpc>
                <a:spcPct val="100000"/>
              </a:lnSpc>
              <a:defRPr>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a:t>CLIENT LOGO HERE</a:t>
            </a:r>
          </a:p>
          <a:p>
            <a:pPr lvl="0"/>
            <a:r>
              <a:rPr lang="en-US"/>
              <a:t>(Optional)</a:t>
            </a:r>
          </a:p>
        </p:txBody>
      </p:sp>
      <p:sp>
        <p:nvSpPr>
          <p:cNvPr id="14" name="Title 11">
            <a:extLst>
              <a:ext uri="{FF2B5EF4-FFF2-40B4-BE49-F238E27FC236}">
                <a16:creationId xmlns:a16="http://schemas.microsoft.com/office/drawing/2014/main" id="{30315D17-E317-969F-3EE5-A7D5ECD2302A}"/>
              </a:ext>
            </a:extLst>
          </p:cNvPr>
          <p:cNvSpPr>
            <a:spLocks noGrp="1"/>
          </p:cNvSpPr>
          <p:nvPr>
            <p:ph type="title" hasCustomPrompt="1"/>
          </p:nvPr>
        </p:nvSpPr>
        <p:spPr>
          <a:xfrm>
            <a:off x="552449" y="1886448"/>
            <a:ext cx="5810252" cy="465384"/>
          </a:xfrm>
        </p:spPr>
        <p:txBody>
          <a:bodyPr vert="horz" wrap="square" lIns="0" tIns="0" rIns="0" bIns="0" rtlCol="0" anchor="t" anchorCtr="0">
            <a:spAutoFit/>
          </a:bodyPr>
          <a:lstStyle>
            <a:lvl1pPr rtl="0">
              <a:lnSpc>
                <a:spcPct val="100000"/>
              </a:lnSpc>
              <a:defRPr lang="en-GB" sz="3600" b="1"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pPr>
            <a:r>
              <a:rPr lang="en-US"/>
              <a:t>Title</a:t>
            </a:r>
          </a:p>
        </p:txBody>
      </p:sp>
      <p:sp>
        <p:nvSpPr>
          <p:cNvPr id="3" name="Text Placeholder 16">
            <a:extLst>
              <a:ext uri="{FF2B5EF4-FFF2-40B4-BE49-F238E27FC236}">
                <a16:creationId xmlns:a16="http://schemas.microsoft.com/office/drawing/2014/main" id="{6EAF9E16-ABC9-4834-9DE2-1C2CCC4E3B8C}"/>
              </a:ext>
            </a:extLst>
          </p:cNvPr>
          <p:cNvSpPr>
            <a:spLocks noGrp="1"/>
          </p:cNvSpPr>
          <p:nvPr>
            <p:ph type="body" sz="quarter" idx="15" hasCustomPrompt="1"/>
          </p:nvPr>
        </p:nvSpPr>
        <p:spPr>
          <a:xfrm>
            <a:off x="552449" y="2913388"/>
            <a:ext cx="5801103" cy="415498"/>
          </a:xfrm>
          <a:prstGeom prst="rect">
            <a:avLst/>
          </a:prstGeom>
        </p:spPr>
        <p:txBody>
          <a:bodyPr lIns="0" tIns="0" rIns="0">
            <a:spAutoFit/>
          </a:bodyPr>
          <a:lstStyle>
            <a:lvl1pPr rtl="0">
              <a:lnSpc>
                <a:spcPct val="100000"/>
              </a:lnSpc>
              <a:defRPr sz="24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sp>
        <p:nvSpPr>
          <p:cNvPr id="4" name="Text Placeholder 16">
            <a:extLst>
              <a:ext uri="{FF2B5EF4-FFF2-40B4-BE49-F238E27FC236}">
                <a16:creationId xmlns:a16="http://schemas.microsoft.com/office/drawing/2014/main" id="{65E9E7F3-648E-FBEA-9C2C-32CE4E41FAA5}"/>
              </a:ext>
            </a:extLst>
          </p:cNvPr>
          <p:cNvSpPr>
            <a:spLocks noGrp="1"/>
          </p:cNvSpPr>
          <p:nvPr>
            <p:ph type="body" sz="quarter" idx="16" hasCustomPrompt="1"/>
          </p:nvPr>
        </p:nvSpPr>
        <p:spPr>
          <a:xfrm>
            <a:off x="552449" y="3794391"/>
            <a:ext cx="3112893" cy="323165"/>
          </a:xfrm>
          <a:prstGeom prst="rect">
            <a:avLst/>
          </a:prstGeom>
        </p:spPr>
        <p:txBody>
          <a:bodyPr lIns="0" tIns="0" rIns="0">
            <a:spAutoFit/>
          </a:bodyPr>
          <a:lstStyle>
            <a:lvl1pPr rtl="0">
              <a:lnSpc>
                <a:spcPct val="100000"/>
              </a:lnSpc>
              <a:defRPr sz="18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p>
        </p:txBody>
      </p:sp>
      <p:sp>
        <p:nvSpPr>
          <p:cNvPr id="5" name="Graphic 43">
            <a:extLst>
              <a:ext uri="{FF2B5EF4-FFF2-40B4-BE49-F238E27FC236}">
                <a16:creationId xmlns:a16="http://schemas.microsoft.com/office/drawing/2014/main" id="{5379894F-40A6-1514-9FC3-579CD43C7AF0}"/>
              </a:ext>
            </a:extLst>
          </p:cNvPr>
          <p:cNvSpPr>
            <a:spLocks noChangeAspect="1"/>
          </p:cNvSpPr>
          <p:nvPr userDrawn="1"/>
        </p:nvSpPr>
        <p:spPr>
          <a:xfrm>
            <a:off x="552449" y="6228000"/>
            <a:ext cx="1440000" cy="396112"/>
          </a:xfrm>
          <a:custGeom>
            <a:avLst/>
            <a:gdLst>
              <a:gd name="connsiteX0" fmla="*/ 219924 w 2610377"/>
              <a:gd name="connsiteY0" fmla="*/ 234161 h 717496"/>
              <a:gd name="connsiteX1" fmla="*/ 308677 w 2610377"/>
              <a:gd name="connsiteY1" fmla="*/ 120016 h 717496"/>
              <a:gd name="connsiteX2" fmla="*/ 173590 w 2610377"/>
              <a:gd name="connsiteY2" fmla="*/ 0 h 717496"/>
              <a:gd name="connsiteX3" fmla="*/ 653 w 2610377"/>
              <a:gd name="connsiteY3" fmla="*/ 0 h 717496"/>
              <a:gd name="connsiteX4" fmla="*/ 653 w 2610377"/>
              <a:gd name="connsiteY4" fmla="*/ 404401 h 717496"/>
              <a:gd name="connsiteX5" fmla="*/ 49597 w 2610377"/>
              <a:gd name="connsiteY5" fmla="*/ 404401 h 717496"/>
              <a:gd name="connsiteX6" fmla="*/ 49597 w 2610377"/>
              <a:gd name="connsiteY6" fmla="*/ 240032 h 717496"/>
              <a:gd name="connsiteX7" fmla="*/ 167064 w 2610377"/>
              <a:gd name="connsiteY7" fmla="*/ 240032 h 717496"/>
              <a:gd name="connsiteX8" fmla="*/ 262343 w 2610377"/>
              <a:gd name="connsiteY8" fmla="*/ 404401 h 717496"/>
              <a:gd name="connsiteX9" fmla="*/ 320424 w 2610377"/>
              <a:gd name="connsiteY9" fmla="*/ 404401 h 717496"/>
              <a:gd name="connsiteX10" fmla="*/ 219924 w 2610377"/>
              <a:gd name="connsiteY10" fmla="*/ 234161 h 717496"/>
              <a:gd name="connsiteX11" fmla="*/ 49597 w 2610377"/>
              <a:gd name="connsiteY11" fmla="*/ 196330 h 717496"/>
              <a:gd name="connsiteX12" fmla="*/ 49597 w 2610377"/>
              <a:gd name="connsiteY12" fmla="*/ 45006 h 717496"/>
              <a:gd name="connsiteX13" fmla="*/ 170980 w 2610377"/>
              <a:gd name="connsiteY13" fmla="*/ 45006 h 717496"/>
              <a:gd name="connsiteX14" fmla="*/ 256470 w 2610377"/>
              <a:gd name="connsiteY14" fmla="*/ 120668 h 717496"/>
              <a:gd name="connsiteX15" fmla="*/ 170980 w 2610377"/>
              <a:gd name="connsiteY15" fmla="*/ 196983 h 717496"/>
              <a:gd name="connsiteX16" fmla="*/ 49597 w 2610377"/>
              <a:gd name="connsiteY16" fmla="*/ 196983 h 717496"/>
              <a:gd name="connsiteX17" fmla="*/ 1414825 w 2610377"/>
              <a:gd name="connsiteY17" fmla="*/ 652 h 717496"/>
              <a:gd name="connsiteX18" fmla="*/ 1465075 w 2610377"/>
              <a:gd name="connsiteY18" fmla="*/ 652 h 717496"/>
              <a:gd name="connsiteX19" fmla="*/ 1344997 w 2610377"/>
              <a:gd name="connsiteY19" fmla="*/ 405054 h 717496"/>
              <a:gd name="connsiteX20" fmla="*/ 1273212 w 2610377"/>
              <a:gd name="connsiteY20" fmla="*/ 405054 h 717496"/>
              <a:gd name="connsiteX21" fmla="*/ 1172712 w 2610377"/>
              <a:gd name="connsiteY21" fmla="*/ 75662 h 717496"/>
              <a:gd name="connsiteX22" fmla="*/ 1072213 w 2610377"/>
              <a:gd name="connsiteY22" fmla="*/ 405054 h 717496"/>
              <a:gd name="connsiteX23" fmla="*/ 1000427 w 2610377"/>
              <a:gd name="connsiteY23" fmla="*/ 405054 h 717496"/>
              <a:gd name="connsiteX24" fmla="*/ 880350 w 2610377"/>
              <a:gd name="connsiteY24" fmla="*/ 652 h 717496"/>
              <a:gd name="connsiteX25" fmla="*/ 930600 w 2610377"/>
              <a:gd name="connsiteY25" fmla="*/ 652 h 717496"/>
              <a:gd name="connsiteX26" fmla="*/ 1036973 w 2610377"/>
              <a:gd name="connsiteY26" fmla="*/ 354830 h 717496"/>
              <a:gd name="connsiteX27" fmla="*/ 1146609 w 2610377"/>
              <a:gd name="connsiteY27" fmla="*/ 3914 h 717496"/>
              <a:gd name="connsiteX28" fmla="*/ 1198816 w 2610377"/>
              <a:gd name="connsiteY28" fmla="*/ 3914 h 717496"/>
              <a:gd name="connsiteX29" fmla="*/ 1308452 w 2610377"/>
              <a:gd name="connsiteY29" fmla="*/ 354830 h 717496"/>
              <a:gd name="connsiteX30" fmla="*/ 1414825 w 2610377"/>
              <a:gd name="connsiteY30" fmla="*/ 652 h 717496"/>
              <a:gd name="connsiteX31" fmla="*/ 1621697 w 2610377"/>
              <a:gd name="connsiteY31" fmla="*/ 652 h 717496"/>
              <a:gd name="connsiteX32" fmla="*/ 1670642 w 2610377"/>
              <a:gd name="connsiteY32" fmla="*/ 652 h 717496"/>
              <a:gd name="connsiteX33" fmla="*/ 1670642 w 2610377"/>
              <a:gd name="connsiteY33" fmla="*/ 405054 h 717496"/>
              <a:gd name="connsiteX34" fmla="*/ 1621697 w 2610377"/>
              <a:gd name="connsiteY34" fmla="*/ 405054 h 717496"/>
              <a:gd name="connsiteX35" fmla="*/ 1621697 w 2610377"/>
              <a:gd name="connsiteY35" fmla="*/ 652 h 717496"/>
              <a:gd name="connsiteX36" fmla="*/ 752442 w 2610377"/>
              <a:gd name="connsiteY36" fmla="*/ 405054 h 717496"/>
              <a:gd name="connsiteX37" fmla="*/ 467910 w 2610377"/>
              <a:gd name="connsiteY37" fmla="*/ 405054 h 717496"/>
              <a:gd name="connsiteX38" fmla="*/ 467910 w 2610377"/>
              <a:gd name="connsiteY38" fmla="*/ 652 h 717496"/>
              <a:gd name="connsiteX39" fmla="*/ 745916 w 2610377"/>
              <a:gd name="connsiteY39" fmla="*/ 652 h 717496"/>
              <a:gd name="connsiteX40" fmla="*/ 745916 w 2610377"/>
              <a:gd name="connsiteY40" fmla="*/ 45006 h 717496"/>
              <a:gd name="connsiteX41" fmla="*/ 516855 w 2610377"/>
              <a:gd name="connsiteY41" fmla="*/ 45006 h 717496"/>
              <a:gd name="connsiteX42" fmla="*/ 516855 w 2610377"/>
              <a:gd name="connsiteY42" fmla="*/ 174806 h 717496"/>
              <a:gd name="connsiteX43" fmla="*/ 714591 w 2610377"/>
              <a:gd name="connsiteY43" fmla="*/ 174806 h 717496"/>
              <a:gd name="connsiteX44" fmla="*/ 714591 w 2610377"/>
              <a:gd name="connsiteY44" fmla="*/ 219159 h 717496"/>
              <a:gd name="connsiteX45" fmla="*/ 516855 w 2610377"/>
              <a:gd name="connsiteY45" fmla="*/ 219159 h 717496"/>
              <a:gd name="connsiteX46" fmla="*/ 516855 w 2610377"/>
              <a:gd name="connsiteY46" fmla="*/ 360048 h 717496"/>
              <a:gd name="connsiteX47" fmla="*/ 752442 w 2610377"/>
              <a:gd name="connsiteY47" fmla="*/ 360048 h 717496"/>
              <a:gd name="connsiteX48" fmla="*/ 752442 w 2610377"/>
              <a:gd name="connsiteY48" fmla="*/ 405054 h 717496"/>
              <a:gd name="connsiteX49" fmla="*/ 2077861 w 2610377"/>
              <a:gd name="connsiteY49" fmla="*/ 234161 h 717496"/>
              <a:gd name="connsiteX50" fmla="*/ 2166614 w 2610377"/>
              <a:gd name="connsiteY50" fmla="*/ 120016 h 717496"/>
              <a:gd name="connsiteX51" fmla="*/ 2031527 w 2610377"/>
              <a:gd name="connsiteY51" fmla="*/ 0 h 717496"/>
              <a:gd name="connsiteX52" fmla="*/ 1858589 w 2610377"/>
              <a:gd name="connsiteY52" fmla="*/ 0 h 717496"/>
              <a:gd name="connsiteX53" fmla="*/ 1858589 w 2610377"/>
              <a:gd name="connsiteY53" fmla="*/ 404401 h 717496"/>
              <a:gd name="connsiteX54" fmla="*/ 1907534 w 2610377"/>
              <a:gd name="connsiteY54" fmla="*/ 404401 h 717496"/>
              <a:gd name="connsiteX55" fmla="*/ 1907534 w 2610377"/>
              <a:gd name="connsiteY55" fmla="*/ 240032 h 717496"/>
              <a:gd name="connsiteX56" fmla="*/ 2025001 w 2610377"/>
              <a:gd name="connsiteY56" fmla="*/ 240032 h 717496"/>
              <a:gd name="connsiteX57" fmla="*/ 2120280 w 2610377"/>
              <a:gd name="connsiteY57" fmla="*/ 404401 h 717496"/>
              <a:gd name="connsiteX58" fmla="*/ 2178360 w 2610377"/>
              <a:gd name="connsiteY58" fmla="*/ 404401 h 717496"/>
              <a:gd name="connsiteX59" fmla="*/ 2077861 w 2610377"/>
              <a:gd name="connsiteY59" fmla="*/ 234161 h 717496"/>
              <a:gd name="connsiteX60" fmla="*/ 1907534 w 2610377"/>
              <a:gd name="connsiteY60" fmla="*/ 196330 h 717496"/>
              <a:gd name="connsiteX61" fmla="*/ 1907534 w 2610377"/>
              <a:gd name="connsiteY61" fmla="*/ 45006 h 717496"/>
              <a:gd name="connsiteX62" fmla="*/ 2029569 w 2610377"/>
              <a:gd name="connsiteY62" fmla="*/ 45006 h 717496"/>
              <a:gd name="connsiteX63" fmla="*/ 2115059 w 2610377"/>
              <a:gd name="connsiteY63" fmla="*/ 120668 h 717496"/>
              <a:gd name="connsiteX64" fmla="*/ 2029569 w 2610377"/>
              <a:gd name="connsiteY64" fmla="*/ 196983 h 717496"/>
              <a:gd name="connsiteX65" fmla="*/ 1907534 w 2610377"/>
              <a:gd name="connsiteY65" fmla="*/ 196983 h 717496"/>
              <a:gd name="connsiteX66" fmla="*/ 2610378 w 2610377"/>
              <a:gd name="connsiteY66" fmla="*/ 652 h 717496"/>
              <a:gd name="connsiteX67" fmla="*/ 2610378 w 2610377"/>
              <a:gd name="connsiteY67" fmla="*/ 405054 h 717496"/>
              <a:gd name="connsiteX68" fmla="*/ 2325847 w 2610377"/>
              <a:gd name="connsiteY68" fmla="*/ 405054 h 717496"/>
              <a:gd name="connsiteX69" fmla="*/ 2325847 w 2610377"/>
              <a:gd name="connsiteY69" fmla="*/ 360700 h 717496"/>
              <a:gd name="connsiteX70" fmla="*/ 2561433 w 2610377"/>
              <a:gd name="connsiteY70" fmla="*/ 360700 h 717496"/>
              <a:gd name="connsiteX71" fmla="*/ 2561433 w 2610377"/>
              <a:gd name="connsiteY71" fmla="*/ 219812 h 717496"/>
              <a:gd name="connsiteX72" fmla="*/ 2363697 w 2610377"/>
              <a:gd name="connsiteY72" fmla="*/ 219812 h 717496"/>
              <a:gd name="connsiteX73" fmla="*/ 2363697 w 2610377"/>
              <a:gd name="connsiteY73" fmla="*/ 175458 h 717496"/>
              <a:gd name="connsiteX74" fmla="*/ 2561433 w 2610377"/>
              <a:gd name="connsiteY74" fmla="*/ 175458 h 717496"/>
              <a:gd name="connsiteX75" fmla="*/ 2561433 w 2610377"/>
              <a:gd name="connsiteY75" fmla="*/ 45658 h 717496"/>
              <a:gd name="connsiteX76" fmla="*/ 2332373 w 2610377"/>
              <a:gd name="connsiteY76" fmla="*/ 45658 h 717496"/>
              <a:gd name="connsiteX77" fmla="*/ 2332373 w 2610377"/>
              <a:gd name="connsiteY77" fmla="*/ 1305 h 717496"/>
              <a:gd name="connsiteX78" fmla="*/ 2610378 w 2610377"/>
              <a:gd name="connsiteY78" fmla="*/ 1305 h 717496"/>
              <a:gd name="connsiteX79" fmla="*/ 29367 w 2610377"/>
              <a:gd name="connsiteY79" fmla="*/ 715530 h 717496"/>
              <a:gd name="connsiteX80" fmla="*/ 0 w 2610377"/>
              <a:gd name="connsiteY80" fmla="*/ 715530 h 717496"/>
              <a:gd name="connsiteX81" fmla="*/ 0 w 2610377"/>
              <a:gd name="connsiteY81" fmla="*/ 567466 h 717496"/>
              <a:gd name="connsiteX82" fmla="*/ 29367 w 2610377"/>
              <a:gd name="connsiteY82" fmla="*/ 567466 h 717496"/>
              <a:gd name="connsiteX83" fmla="*/ 29367 w 2610377"/>
              <a:gd name="connsiteY83" fmla="*/ 715530 h 717496"/>
              <a:gd name="connsiteX84" fmla="*/ 78964 w 2610377"/>
              <a:gd name="connsiteY84" fmla="*/ 567466 h 717496"/>
              <a:gd name="connsiteX85" fmla="*/ 110289 w 2610377"/>
              <a:gd name="connsiteY85" fmla="*/ 567466 h 717496"/>
              <a:gd name="connsiteX86" fmla="*/ 157928 w 2610377"/>
              <a:gd name="connsiteY86" fmla="*/ 665958 h 717496"/>
              <a:gd name="connsiteX87" fmla="*/ 205567 w 2610377"/>
              <a:gd name="connsiteY87" fmla="*/ 567466 h 717496"/>
              <a:gd name="connsiteX88" fmla="*/ 236892 w 2610377"/>
              <a:gd name="connsiteY88" fmla="*/ 567466 h 717496"/>
              <a:gd name="connsiteX89" fmla="*/ 236892 w 2610377"/>
              <a:gd name="connsiteY89" fmla="*/ 715530 h 717496"/>
              <a:gd name="connsiteX90" fmla="*/ 207525 w 2610377"/>
              <a:gd name="connsiteY90" fmla="*/ 715530 h 717496"/>
              <a:gd name="connsiteX91" fmla="*/ 207525 w 2610377"/>
              <a:gd name="connsiteY91" fmla="*/ 624865 h 717496"/>
              <a:gd name="connsiteX92" fmla="*/ 167717 w 2610377"/>
              <a:gd name="connsiteY92" fmla="*/ 705746 h 717496"/>
              <a:gd name="connsiteX93" fmla="*/ 148792 w 2610377"/>
              <a:gd name="connsiteY93" fmla="*/ 705746 h 717496"/>
              <a:gd name="connsiteX94" fmla="*/ 108983 w 2610377"/>
              <a:gd name="connsiteY94" fmla="*/ 624865 h 717496"/>
              <a:gd name="connsiteX95" fmla="*/ 108983 w 2610377"/>
              <a:gd name="connsiteY95" fmla="*/ 715530 h 717496"/>
              <a:gd name="connsiteX96" fmla="*/ 79617 w 2610377"/>
              <a:gd name="connsiteY96" fmla="*/ 715530 h 717496"/>
              <a:gd name="connsiteX97" fmla="*/ 79617 w 2610377"/>
              <a:gd name="connsiteY97" fmla="*/ 567466 h 717496"/>
              <a:gd name="connsiteX98" fmla="*/ 281921 w 2610377"/>
              <a:gd name="connsiteY98" fmla="*/ 715530 h 717496"/>
              <a:gd name="connsiteX99" fmla="*/ 281921 w 2610377"/>
              <a:gd name="connsiteY99" fmla="*/ 567466 h 717496"/>
              <a:gd name="connsiteX100" fmla="*/ 346528 w 2610377"/>
              <a:gd name="connsiteY100" fmla="*/ 567466 h 717496"/>
              <a:gd name="connsiteX101" fmla="*/ 399388 w 2610377"/>
              <a:gd name="connsiteY101" fmla="*/ 616386 h 717496"/>
              <a:gd name="connsiteX102" fmla="*/ 346528 w 2610377"/>
              <a:gd name="connsiteY102" fmla="*/ 664653 h 717496"/>
              <a:gd name="connsiteX103" fmla="*/ 311288 w 2610377"/>
              <a:gd name="connsiteY103" fmla="*/ 664653 h 717496"/>
              <a:gd name="connsiteX104" fmla="*/ 311288 w 2610377"/>
              <a:gd name="connsiteY104" fmla="*/ 715530 h 717496"/>
              <a:gd name="connsiteX105" fmla="*/ 281921 w 2610377"/>
              <a:gd name="connsiteY105" fmla="*/ 715530 h 717496"/>
              <a:gd name="connsiteX106" fmla="*/ 311288 w 2610377"/>
              <a:gd name="connsiteY106" fmla="*/ 639215 h 717496"/>
              <a:gd name="connsiteX107" fmla="*/ 344570 w 2610377"/>
              <a:gd name="connsiteY107" fmla="*/ 639215 h 717496"/>
              <a:gd name="connsiteX108" fmla="*/ 369369 w 2610377"/>
              <a:gd name="connsiteY108" fmla="*/ 616386 h 717496"/>
              <a:gd name="connsiteX109" fmla="*/ 344570 w 2610377"/>
              <a:gd name="connsiteY109" fmla="*/ 592905 h 717496"/>
              <a:gd name="connsiteX110" fmla="*/ 311288 w 2610377"/>
              <a:gd name="connsiteY110" fmla="*/ 592905 h 717496"/>
              <a:gd name="connsiteX111" fmla="*/ 311288 w 2610377"/>
              <a:gd name="connsiteY111" fmla="*/ 639215 h 717496"/>
              <a:gd name="connsiteX112" fmla="*/ 426144 w 2610377"/>
              <a:gd name="connsiteY112" fmla="*/ 641824 h 717496"/>
              <a:gd name="connsiteX113" fmla="*/ 503803 w 2610377"/>
              <a:gd name="connsiteY113" fmla="*/ 565510 h 717496"/>
              <a:gd name="connsiteX114" fmla="*/ 581462 w 2610377"/>
              <a:gd name="connsiteY114" fmla="*/ 641824 h 717496"/>
              <a:gd name="connsiteX115" fmla="*/ 503803 w 2610377"/>
              <a:gd name="connsiteY115" fmla="*/ 717486 h 717496"/>
              <a:gd name="connsiteX116" fmla="*/ 426144 w 2610377"/>
              <a:gd name="connsiteY116" fmla="*/ 641824 h 717496"/>
              <a:gd name="connsiteX117" fmla="*/ 503803 w 2610377"/>
              <a:gd name="connsiteY117" fmla="*/ 690744 h 717496"/>
              <a:gd name="connsiteX118" fmla="*/ 551442 w 2610377"/>
              <a:gd name="connsiteY118" fmla="*/ 641824 h 717496"/>
              <a:gd name="connsiteX119" fmla="*/ 503803 w 2610377"/>
              <a:gd name="connsiteY119" fmla="*/ 592905 h 717496"/>
              <a:gd name="connsiteX120" fmla="*/ 456164 w 2610377"/>
              <a:gd name="connsiteY120" fmla="*/ 641824 h 717496"/>
              <a:gd name="connsiteX121" fmla="*/ 503803 w 2610377"/>
              <a:gd name="connsiteY121" fmla="*/ 690744 h 717496"/>
              <a:gd name="connsiteX122" fmla="*/ 629754 w 2610377"/>
              <a:gd name="connsiteY122" fmla="*/ 667262 h 717496"/>
              <a:gd name="connsiteX123" fmla="*/ 667604 w 2610377"/>
              <a:gd name="connsiteY123" fmla="*/ 691396 h 717496"/>
              <a:gd name="connsiteX124" fmla="*/ 693055 w 2610377"/>
              <a:gd name="connsiteY124" fmla="*/ 675089 h 717496"/>
              <a:gd name="connsiteX125" fmla="*/ 664341 w 2610377"/>
              <a:gd name="connsiteY125" fmla="*/ 654217 h 717496"/>
              <a:gd name="connsiteX126" fmla="*/ 612786 w 2610377"/>
              <a:gd name="connsiteY126" fmla="*/ 607907 h 717496"/>
              <a:gd name="connsiteX127" fmla="*/ 664994 w 2610377"/>
              <a:gd name="connsiteY127" fmla="*/ 565510 h 717496"/>
              <a:gd name="connsiteX128" fmla="*/ 719812 w 2610377"/>
              <a:gd name="connsiteY128" fmla="*/ 597470 h 717496"/>
              <a:gd name="connsiteX129" fmla="*/ 696971 w 2610377"/>
              <a:gd name="connsiteY129" fmla="*/ 613777 h 717496"/>
              <a:gd name="connsiteX130" fmla="*/ 664341 w 2610377"/>
              <a:gd name="connsiteY130" fmla="*/ 592252 h 717496"/>
              <a:gd name="connsiteX131" fmla="*/ 642806 w 2610377"/>
              <a:gd name="connsiteY131" fmla="*/ 607907 h 717496"/>
              <a:gd name="connsiteX132" fmla="*/ 672172 w 2610377"/>
              <a:gd name="connsiteY132" fmla="*/ 628127 h 717496"/>
              <a:gd name="connsiteX133" fmla="*/ 723075 w 2610377"/>
              <a:gd name="connsiteY133" fmla="*/ 674437 h 717496"/>
              <a:gd name="connsiteX134" fmla="*/ 666952 w 2610377"/>
              <a:gd name="connsiteY134" fmla="*/ 717486 h 717496"/>
              <a:gd name="connsiteX135" fmla="*/ 607566 w 2610377"/>
              <a:gd name="connsiteY135" fmla="*/ 682264 h 717496"/>
              <a:gd name="connsiteX136" fmla="*/ 629754 w 2610377"/>
              <a:gd name="connsiteY136" fmla="*/ 667262 h 717496"/>
              <a:gd name="connsiteX137" fmla="*/ 770714 w 2610377"/>
              <a:gd name="connsiteY137" fmla="*/ 667262 h 717496"/>
              <a:gd name="connsiteX138" fmla="*/ 808565 w 2610377"/>
              <a:gd name="connsiteY138" fmla="*/ 691396 h 717496"/>
              <a:gd name="connsiteX139" fmla="*/ 834016 w 2610377"/>
              <a:gd name="connsiteY139" fmla="*/ 675089 h 717496"/>
              <a:gd name="connsiteX140" fmla="*/ 805302 w 2610377"/>
              <a:gd name="connsiteY140" fmla="*/ 654217 h 717496"/>
              <a:gd name="connsiteX141" fmla="*/ 753747 w 2610377"/>
              <a:gd name="connsiteY141" fmla="*/ 607907 h 717496"/>
              <a:gd name="connsiteX142" fmla="*/ 805954 w 2610377"/>
              <a:gd name="connsiteY142" fmla="*/ 565510 h 717496"/>
              <a:gd name="connsiteX143" fmla="*/ 860772 w 2610377"/>
              <a:gd name="connsiteY143" fmla="*/ 597470 h 717496"/>
              <a:gd name="connsiteX144" fmla="*/ 837931 w 2610377"/>
              <a:gd name="connsiteY144" fmla="*/ 613777 h 717496"/>
              <a:gd name="connsiteX145" fmla="*/ 805302 w 2610377"/>
              <a:gd name="connsiteY145" fmla="*/ 592252 h 717496"/>
              <a:gd name="connsiteX146" fmla="*/ 783766 w 2610377"/>
              <a:gd name="connsiteY146" fmla="*/ 607907 h 717496"/>
              <a:gd name="connsiteX147" fmla="*/ 813133 w 2610377"/>
              <a:gd name="connsiteY147" fmla="*/ 628127 h 717496"/>
              <a:gd name="connsiteX148" fmla="*/ 864035 w 2610377"/>
              <a:gd name="connsiteY148" fmla="*/ 674437 h 717496"/>
              <a:gd name="connsiteX149" fmla="*/ 807912 w 2610377"/>
              <a:gd name="connsiteY149" fmla="*/ 717486 h 717496"/>
              <a:gd name="connsiteX150" fmla="*/ 748526 w 2610377"/>
              <a:gd name="connsiteY150" fmla="*/ 682264 h 717496"/>
              <a:gd name="connsiteX151" fmla="*/ 770714 w 2610377"/>
              <a:gd name="connsiteY151" fmla="*/ 667262 h 717496"/>
              <a:gd name="connsiteX152" fmla="*/ 933863 w 2610377"/>
              <a:gd name="connsiteY152" fmla="*/ 715530 h 717496"/>
              <a:gd name="connsiteX153" fmla="*/ 904496 w 2610377"/>
              <a:gd name="connsiteY153" fmla="*/ 715530 h 717496"/>
              <a:gd name="connsiteX154" fmla="*/ 904496 w 2610377"/>
              <a:gd name="connsiteY154" fmla="*/ 567466 h 717496"/>
              <a:gd name="connsiteX155" fmla="*/ 933863 w 2610377"/>
              <a:gd name="connsiteY155" fmla="*/ 567466 h 717496"/>
              <a:gd name="connsiteX156" fmla="*/ 933863 w 2610377"/>
              <a:gd name="connsiteY156" fmla="*/ 715530 h 717496"/>
              <a:gd name="connsiteX157" fmla="*/ 978892 w 2610377"/>
              <a:gd name="connsiteY157" fmla="*/ 567466 h 717496"/>
              <a:gd name="connsiteX158" fmla="*/ 1047414 w 2610377"/>
              <a:gd name="connsiteY158" fmla="*/ 567466 h 717496"/>
              <a:gd name="connsiteX159" fmla="*/ 1093096 w 2610377"/>
              <a:gd name="connsiteY159" fmla="*/ 607907 h 717496"/>
              <a:gd name="connsiteX160" fmla="*/ 1073518 w 2610377"/>
              <a:gd name="connsiteY160" fmla="*/ 638563 h 717496"/>
              <a:gd name="connsiteX161" fmla="*/ 1098316 w 2610377"/>
              <a:gd name="connsiteY161" fmla="*/ 674437 h 717496"/>
              <a:gd name="connsiteX162" fmla="*/ 1051982 w 2610377"/>
              <a:gd name="connsiteY162" fmla="*/ 715530 h 717496"/>
              <a:gd name="connsiteX163" fmla="*/ 978892 w 2610377"/>
              <a:gd name="connsiteY163" fmla="*/ 715530 h 717496"/>
              <a:gd name="connsiteX164" fmla="*/ 978892 w 2610377"/>
              <a:gd name="connsiteY164" fmla="*/ 567466 h 717496"/>
              <a:gd name="connsiteX165" fmla="*/ 1008258 w 2610377"/>
              <a:gd name="connsiteY165" fmla="*/ 592905 h 717496"/>
              <a:gd name="connsiteX166" fmla="*/ 1008258 w 2610377"/>
              <a:gd name="connsiteY166" fmla="*/ 629431 h 717496"/>
              <a:gd name="connsiteX167" fmla="*/ 1042846 w 2610377"/>
              <a:gd name="connsiteY167" fmla="*/ 629431 h 717496"/>
              <a:gd name="connsiteX168" fmla="*/ 1062424 w 2610377"/>
              <a:gd name="connsiteY168" fmla="*/ 611820 h 717496"/>
              <a:gd name="connsiteX169" fmla="*/ 1042193 w 2610377"/>
              <a:gd name="connsiteY169" fmla="*/ 593557 h 717496"/>
              <a:gd name="connsiteX170" fmla="*/ 1008258 w 2610377"/>
              <a:gd name="connsiteY170" fmla="*/ 593557 h 717496"/>
              <a:gd name="connsiteX171" fmla="*/ 1008258 w 2610377"/>
              <a:gd name="connsiteY171" fmla="*/ 652260 h 717496"/>
              <a:gd name="connsiteX172" fmla="*/ 1008258 w 2610377"/>
              <a:gd name="connsiteY172" fmla="*/ 690744 h 717496"/>
              <a:gd name="connsiteX173" fmla="*/ 1046762 w 2610377"/>
              <a:gd name="connsiteY173" fmla="*/ 690744 h 717496"/>
              <a:gd name="connsiteX174" fmla="*/ 1066340 w 2610377"/>
              <a:gd name="connsiteY174" fmla="*/ 672480 h 717496"/>
              <a:gd name="connsiteX175" fmla="*/ 1046762 w 2610377"/>
              <a:gd name="connsiteY175" fmla="*/ 652260 h 717496"/>
              <a:gd name="connsiteX176" fmla="*/ 1008258 w 2610377"/>
              <a:gd name="connsiteY176" fmla="*/ 652260 h 717496"/>
              <a:gd name="connsiteX177" fmla="*/ 1247108 w 2610377"/>
              <a:gd name="connsiteY177" fmla="*/ 715530 h 717496"/>
              <a:gd name="connsiteX178" fmla="*/ 1137472 w 2610377"/>
              <a:gd name="connsiteY178" fmla="*/ 715530 h 717496"/>
              <a:gd name="connsiteX179" fmla="*/ 1137472 w 2610377"/>
              <a:gd name="connsiteY179" fmla="*/ 567466 h 717496"/>
              <a:gd name="connsiteX180" fmla="*/ 1166839 w 2610377"/>
              <a:gd name="connsiteY180" fmla="*/ 567466 h 717496"/>
              <a:gd name="connsiteX181" fmla="*/ 1166839 w 2610377"/>
              <a:gd name="connsiteY181" fmla="*/ 690091 h 717496"/>
              <a:gd name="connsiteX182" fmla="*/ 1246455 w 2610377"/>
              <a:gd name="connsiteY182" fmla="*/ 690091 h 717496"/>
              <a:gd name="connsiteX183" fmla="*/ 1246455 w 2610377"/>
              <a:gd name="connsiteY183" fmla="*/ 715530 h 717496"/>
              <a:gd name="connsiteX184" fmla="*/ 1281043 w 2610377"/>
              <a:gd name="connsiteY184" fmla="*/ 567466 h 717496"/>
              <a:gd name="connsiteX185" fmla="*/ 1386763 w 2610377"/>
              <a:gd name="connsiteY185" fmla="*/ 567466 h 717496"/>
              <a:gd name="connsiteX186" fmla="*/ 1386763 w 2610377"/>
              <a:gd name="connsiteY186" fmla="*/ 592905 h 717496"/>
              <a:gd name="connsiteX187" fmla="*/ 1311062 w 2610377"/>
              <a:gd name="connsiteY187" fmla="*/ 592905 h 717496"/>
              <a:gd name="connsiteX188" fmla="*/ 1311062 w 2610377"/>
              <a:gd name="connsiteY188" fmla="*/ 626822 h 717496"/>
              <a:gd name="connsiteX189" fmla="*/ 1376974 w 2610377"/>
              <a:gd name="connsiteY189" fmla="*/ 626822 h 717496"/>
              <a:gd name="connsiteX190" fmla="*/ 1376974 w 2610377"/>
              <a:gd name="connsiteY190" fmla="*/ 652260 h 717496"/>
              <a:gd name="connsiteX191" fmla="*/ 1311062 w 2610377"/>
              <a:gd name="connsiteY191" fmla="*/ 652260 h 717496"/>
              <a:gd name="connsiteX192" fmla="*/ 1311062 w 2610377"/>
              <a:gd name="connsiteY192" fmla="*/ 690091 h 717496"/>
              <a:gd name="connsiteX193" fmla="*/ 1388721 w 2610377"/>
              <a:gd name="connsiteY193" fmla="*/ 690091 h 717496"/>
              <a:gd name="connsiteX194" fmla="*/ 1388721 w 2610377"/>
              <a:gd name="connsiteY194" fmla="*/ 715530 h 717496"/>
              <a:gd name="connsiteX195" fmla="*/ 1281696 w 2610377"/>
              <a:gd name="connsiteY195" fmla="*/ 715530 h 717496"/>
              <a:gd name="connsiteX196" fmla="*/ 1281696 w 2610377"/>
              <a:gd name="connsiteY196" fmla="*/ 567466 h 717496"/>
              <a:gd name="connsiteX197" fmla="*/ 1504230 w 2610377"/>
              <a:gd name="connsiteY197" fmla="*/ 715530 h 717496"/>
              <a:gd name="connsiteX198" fmla="*/ 1504230 w 2610377"/>
              <a:gd name="connsiteY198" fmla="*/ 567466 h 717496"/>
              <a:gd name="connsiteX199" fmla="*/ 1530987 w 2610377"/>
              <a:gd name="connsiteY199" fmla="*/ 567466 h 717496"/>
              <a:gd name="connsiteX200" fmla="*/ 1613214 w 2610377"/>
              <a:gd name="connsiteY200" fmla="*/ 669219 h 717496"/>
              <a:gd name="connsiteX201" fmla="*/ 1613214 w 2610377"/>
              <a:gd name="connsiteY201" fmla="*/ 567466 h 717496"/>
              <a:gd name="connsiteX202" fmla="*/ 1642580 w 2610377"/>
              <a:gd name="connsiteY202" fmla="*/ 567466 h 717496"/>
              <a:gd name="connsiteX203" fmla="*/ 1642580 w 2610377"/>
              <a:gd name="connsiteY203" fmla="*/ 715530 h 717496"/>
              <a:gd name="connsiteX204" fmla="*/ 1615171 w 2610377"/>
              <a:gd name="connsiteY204" fmla="*/ 715530 h 717496"/>
              <a:gd name="connsiteX205" fmla="*/ 1533597 w 2610377"/>
              <a:gd name="connsiteY205" fmla="*/ 615081 h 717496"/>
              <a:gd name="connsiteX206" fmla="*/ 1533597 w 2610377"/>
              <a:gd name="connsiteY206" fmla="*/ 715530 h 717496"/>
              <a:gd name="connsiteX207" fmla="*/ 1504230 w 2610377"/>
              <a:gd name="connsiteY207" fmla="*/ 715530 h 717496"/>
              <a:gd name="connsiteX208" fmla="*/ 1682388 w 2610377"/>
              <a:gd name="connsiteY208" fmla="*/ 641824 h 717496"/>
              <a:gd name="connsiteX209" fmla="*/ 1760047 w 2610377"/>
              <a:gd name="connsiteY209" fmla="*/ 565510 h 717496"/>
              <a:gd name="connsiteX210" fmla="*/ 1837706 w 2610377"/>
              <a:gd name="connsiteY210" fmla="*/ 641824 h 717496"/>
              <a:gd name="connsiteX211" fmla="*/ 1760047 w 2610377"/>
              <a:gd name="connsiteY211" fmla="*/ 717486 h 717496"/>
              <a:gd name="connsiteX212" fmla="*/ 1682388 w 2610377"/>
              <a:gd name="connsiteY212" fmla="*/ 641824 h 717496"/>
              <a:gd name="connsiteX213" fmla="*/ 1760047 w 2610377"/>
              <a:gd name="connsiteY213" fmla="*/ 690744 h 717496"/>
              <a:gd name="connsiteX214" fmla="*/ 1807687 w 2610377"/>
              <a:gd name="connsiteY214" fmla="*/ 641824 h 717496"/>
              <a:gd name="connsiteX215" fmla="*/ 1760047 w 2610377"/>
              <a:gd name="connsiteY215" fmla="*/ 592905 h 717496"/>
              <a:gd name="connsiteX216" fmla="*/ 1712408 w 2610377"/>
              <a:gd name="connsiteY216" fmla="*/ 641824 h 717496"/>
              <a:gd name="connsiteX217" fmla="*/ 1760047 w 2610377"/>
              <a:gd name="connsiteY217" fmla="*/ 690744 h 717496"/>
              <a:gd name="connsiteX218" fmla="*/ 1954520 w 2610377"/>
              <a:gd name="connsiteY218" fmla="*/ 567466 h 717496"/>
              <a:gd name="connsiteX219" fmla="*/ 1985845 w 2610377"/>
              <a:gd name="connsiteY219" fmla="*/ 567466 h 717496"/>
              <a:gd name="connsiteX220" fmla="*/ 2033485 w 2610377"/>
              <a:gd name="connsiteY220" fmla="*/ 665958 h 717496"/>
              <a:gd name="connsiteX221" fmla="*/ 2081124 w 2610377"/>
              <a:gd name="connsiteY221" fmla="*/ 567466 h 717496"/>
              <a:gd name="connsiteX222" fmla="*/ 2112448 w 2610377"/>
              <a:gd name="connsiteY222" fmla="*/ 567466 h 717496"/>
              <a:gd name="connsiteX223" fmla="*/ 2112448 w 2610377"/>
              <a:gd name="connsiteY223" fmla="*/ 715530 h 717496"/>
              <a:gd name="connsiteX224" fmla="*/ 2083082 w 2610377"/>
              <a:gd name="connsiteY224" fmla="*/ 715530 h 717496"/>
              <a:gd name="connsiteX225" fmla="*/ 2083082 w 2610377"/>
              <a:gd name="connsiteY225" fmla="*/ 624865 h 717496"/>
              <a:gd name="connsiteX226" fmla="*/ 2043274 w 2610377"/>
              <a:gd name="connsiteY226" fmla="*/ 705746 h 717496"/>
              <a:gd name="connsiteX227" fmla="*/ 2024348 w 2610377"/>
              <a:gd name="connsiteY227" fmla="*/ 705746 h 717496"/>
              <a:gd name="connsiteX228" fmla="*/ 1984540 w 2610377"/>
              <a:gd name="connsiteY228" fmla="*/ 624865 h 717496"/>
              <a:gd name="connsiteX229" fmla="*/ 1984540 w 2610377"/>
              <a:gd name="connsiteY229" fmla="*/ 715530 h 717496"/>
              <a:gd name="connsiteX230" fmla="*/ 1955173 w 2610377"/>
              <a:gd name="connsiteY230" fmla="*/ 715530 h 717496"/>
              <a:gd name="connsiteX231" fmla="*/ 1955173 w 2610377"/>
              <a:gd name="connsiteY231" fmla="*/ 567466 h 717496"/>
              <a:gd name="connsiteX232" fmla="*/ 2152257 w 2610377"/>
              <a:gd name="connsiteY232" fmla="*/ 641824 h 717496"/>
              <a:gd name="connsiteX233" fmla="*/ 2229915 w 2610377"/>
              <a:gd name="connsiteY233" fmla="*/ 565510 h 717496"/>
              <a:gd name="connsiteX234" fmla="*/ 2307574 w 2610377"/>
              <a:gd name="connsiteY234" fmla="*/ 641824 h 717496"/>
              <a:gd name="connsiteX235" fmla="*/ 2229915 w 2610377"/>
              <a:gd name="connsiteY235" fmla="*/ 717486 h 717496"/>
              <a:gd name="connsiteX236" fmla="*/ 2152257 w 2610377"/>
              <a:gd name="connsiteY236" fmla="*/ 641824 h 717496"/>
              <a:gd name="connsiteX237" fmla="*/ 2229915 w 2610377"/>
              <a:gd name="connsiteY237" fmla="*/ 690744 h 717496"/>
              <a:gd name="connsiteX238" fmla="*/ 2277555 w 2610377"/>
              <a:gd name="connsiteY238" fmla="*/ 641824 h 717496"/>
              <a:gd name="connsiteX239" fmla="*/ 2229915 w 2610377"/>
              <a:gd name="connsiteY239" fmla="*/ 592905 h 717496"/>
              <a:gd name="connsiteX240" fmla="*/ 2182276 w 2610377"/>
              <a:gd name="connsiteY240" fmla="*/ 641824 h 717496"/>
              <a:gd name="connsiteX241" fmla="*/ 2229915 w 2610377"/>
              <a:gd name="connsiteY241" fmla="*/ 690744 h 717496"/>
              <a:gd name="connsiteX242" fmla="*/ 2342814 w 2610377"/>
              <a:gd name="connsiteY242" fmla="*/ 715530 h 717496"/>
              <a:gd name="connsiteX243" fmla="*/ 2342814 w 2610377"/>
              <a:gd name="connsiteY243" fmla="*/ 567466 h 717496"/>
              <a:gd name="connsiteX244" fmla="*/ 2408074 w 2610377"/>
              <a:gd name="connsiteY244" fmla="*/ 567466 h 717496"/>
              <a:gd name="connsiteX245" fmla="*/ 2460934 w 2610377"/>
              <a:gd name="connsiteY245" fmla="*/ 615081 h 717496"/>
              <a:gd name="connsiteX246" fmla="*/ 2433525 w 2610377"/>
              <a:gd name="connsiteY246" fmla="*/ 656826 h 717496"/>
              <a:gd name="connsiteX247" fmla="*/ 2466807 w 2610377"/>
              <a:gd name="connsiteY247" fmla="*/ 715530 h 717496"/>
              <a:gd name="connsiteX248" fmla="*/ 2434177 w 2610377"/>
              <a:gd name="connsiteY248" fmla="*/ 715530 h 717496"/>
              <a:gd name="connsiteX249" fmla="*/ 2404158 w 2610377"/>
              <a:gd name="connsiteY249" fmla="*/ 661392 h 717496"/>
              <a:gd name="connsiteX250" fmla="*/ 2372181 w 2610377"/>
              <a:gd name="connsiteY250" fmla="*/ 661392 h 717496"/>
              <a:gd name="connsiteX251" fmla="*/ 2372181 w 2610377"/>
              <a:gd name="connsiteY251" fmla="*/ 714877 h 717496"/>
              <a:gd name="connsiteX252" fmla="*/ 2342814 w 2610377"/>
              <a:gd name="connsiteY252" fmla="*/ 714877 h 717496"/>
              <a:gd name="connsiteX253" fmla="*/ 2372181 w 2610377"/>
              <a:gd name="connsiteY253" fmla="*/ 635954 h 717496"/>
              <a:gd name="connsiteX254" fmla="*/ 2406116 w 2610377"/>
              <a:gd name="connsiteY254" fmla="*/ 635954 h 717496"/>
              <a:gd name="connsiteX255" fmla="*/ 2430914 w 2610377"/>
              <a:gd name="connsiteY255" fmla="*/ 615081 h 717496"/>
              <a:gd name="connsiteX256" fmla="*/ 2406116 w 2610377"/>
              <a:gd name="connsiteY256" fmla="*/ 592905 h 717496"/>
              <a:gd name="connsiteX257" fmla="*/ 2372181 w 2610377"/>
              <a:gd name="connsiteY257" fmla="*/ 592905 h 717496"/>
              <a:gd name="connsiteX258" fmla="*/ 2372181 w 2610377"/>
              <a:gd name="connsiteY258" fmla="*/ 635954 h 717496"/>
              <a:gd name="connsiteX259" fmla="*/ 2503353 w 2610377"/>
              <a:gd name="connsiteY259" fmla="*/ 567466 h 717496"/>
              <a:gd name="connsiteX260" fmla="*/ 2609073 w 2610377"/>
              <a:gd name="connsiteY260" fmla="*/ 567466 h 717496"/>
              <a:gd name="connsiteX261" fmla="*/ 2609073 w 2610377"/>
              <a:gd name="connsiteY261" fmla="*/ 592905 h 717496"/>
              <a:gd name="connsiteX262" fmla="*/ 2533372 w 2610377"/>
              <a:gd name="connsiteY262" fmla="*/ 592905 h 717496"/>
              <a:gd name="connsiteX263" fmla="*/ 2533372 w 2610377"/>
              <a:gd name="connsiteY263" fmla="*/ 626822 h 717496"/>
              <a:gd name="connsiteX264" fmla="*/ 2598631 w 2610377"/>
              <a:gd name="connsiteY264" fmla="*/ 626822 h 717496"/>
              <a:gd name="connsiteX265" fmla="*/ 2598631 w 2610377"/>
              <a:gd name="connsiteY265" fmla="*/ 652260 h 717496"/>
              <a:gd name="connsiteX266" fmla="*/ 2532719 w 2610377"/>
              <a:gd name="connsiteY266" fmla="*/ 652260 h 717496"/>
              <a:gd name="connsiteX267" fmla="*/ 2532719 w 2610377"/>
              <a:gd name="connsiteY267" fmla="*/ 690091 h 717496"/>
              <a:gd name="connsiteX268" fmla="*/ 2610378 w 2610377"/>
              <a:gd name="connsiteY268" fmla="*/ 690091 h 717496"/>
              <a:gd name="connsiteX269" fmla="*/ 2610378 w 2610377"/>
              <a:gd name="connsiteY269" fmla="*/ 715530 h 717496"/>
              <a:gd name="connsiteX270" fmla="*/ 2503353 w 2610377"/>
              <a:gd name="connsiteY270" fmla="*/ 715530 h 717496"/>
              <a:gd name="connsiteX271" fmla="*/ 2503353 w 2610377"/>
              <a:gd name="connsiteY271" fmla="*/ 567466 h 71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610377" h="717496">
                <a:moveTo>
                  <a:pt x="219924" y="234161"/>
                </a:moveTo>
                <a:cubicBezTo>
                  <a:pt x="274742" y="219812"/>
                  <a:pt x="308677" y="178067"/>
                  <a:pt x="308677" y="120016"/>
                </a:cubicBezTo>
                <a:cubicBezTo>
                  <a:pt x="308677" y="46311"/>
                  <a:pt x="255164" y="0"/>
                  <a:pt x="173590" y="0"/>
                </a:cubicBezTo>
                <a:lnTo>
                  <a:pt x="653" y="0"/>
                </a:lnTo>
                <a:lnTo>
                  <a:pt x="653" y="404401"/>
                </a:lnTo>
                <a:lnTo>
                  <a:pt x="49597" y="404401"/>
                </a:lnTo>
                <a:lnTo>
                  <a:pt x="49597" y="240032"/>
                </a:lnTo>
                <a:lnTo>
                  <a:pt x="167064" y="240032"/>
                </a:lnTo>
                <a:lnTo>
                  <a:pt x="262343" y="404401"/>
                </a:lnTo>
                <a:lnTo>
                  <a:pt x="320424" y="404401"/>
                </a:lnTo>
                <a:lnTo>
                  <a:pt x="219924" y="234161"/>
                </a:lnTo>
                <a:close/>
                <a:moveTo>
                  <a:pt x="49597" y="196330"/>
                </a:moveTo>
                <a:lnTo>
                  <a:pt x="49597" y="45006"/>
                </a:lnTo>
                <a:lnTo>
                  <a:pt x="170980" y="45006"/>
                </a:lnTo>
                <a:cubicBezTo>
                  <a:pt x="227756" y="45006"/>
                  <a:pt x="256470" y="73705"/>
                  <a:pt x="256470" y="120668"/>
                </a:cubicBezTo>
                <a:cubicBezTo>
                  <a:pt x="256470" y="166326"/>
                  <a:pt x="227103" y="196983"/>
                  <a:pt x="170980" y="196983"/>
                </a:cubicBezTo>
                <a:lnTo>
                  <a:pt x="49597" y="196983"/>
                </a:lnTo>
                <a:close/>
                <a:moveTo>
                  <a:pt x="1414825" y="652"/>
                </a:moveTo>
                <a:lnTo>
                  <a:pt x="1465075" y="652"/>
                </a:lnTo>
                <a:lnTo>
                  <a:pt x="1344997" y="405054"/>
                </a:lnTo>
                <a:lnTo>
                  <a:pt x="1273212" y="405054"/>
                </a:lnTo>
                <a:lnTo>
                  <a:pt x="1172712" y="75662"/>
                </a:lnTo>
                <a:lnTo>
                  <a:pt x="1072213" y="405054"/>
                </a:lnTo>
                <a:lnTo>
                  <a:pt x="1000427" y="405054"/>
                </a:lnTo>
                <a:lnTo>
                  <a:pt x="880350" y="652"/>
                </a:lnTo>
                <a:lnTo>
                  <a:pt x="930600" y="652"/>
                </a:lnTo>
                <a:lnTo>
                  <a:pt x="1036973" y="354830"/>
                </a:lnTo>
                <a:lnTo>
                  <a:pt x="1146609" y="3914"/>
                </a:lnTo>
                <a:lnTo>
                  <a:pt x="1198816" y="3914"/>
                </a:lnTo>
                <a:lnTo>
                  <a:pt x="1308452" y="354830"/>
                </a:lnTo>
                <a:lnTo>
                  <a:pt x="1414825" y="652"/>
                </a:lnTo>
                <a:close/>
                <a:moveTo>
                  <a:pt x="1621697" y="652"/>
                </a:moveTo>
                <a:lnTo>
                  <a:pt x="1670642" y="652"/>
                </a:lnTo>
                <a:lnTo>
                  <a:pt x="1670642" y="405054"/>
                </a:lnTo>
                <a:lnTo>
                  <a:pt x="1621697" y="405054"/>
                </a:lnTo>
                <a:lnTo>
                  <a:pt x="1621697" y="652"/>
                </a:lnTo>
                <a:close/>
                <a:moveTo>
                  <a:pt x="752442" y="405054"/>
                </a:moveTo>
                <a:lnTo>
                  <a:pt x="467910" y="405054"/>
                </a:lnTo>
                <a:lnTo>
                  <a:pt x="467910" y="652"/>
                </a:lnTo>
                <a:lnTo>
                  <a:pt x="745916" y="652"/>
                </a:lnTo>
                <a:lnTo>
                  <a:pt x="745916" y="45006"/>
                </a:lnTo>
                <a:lnTo>
                  <a:pt x="516855" y="45006"/>
                </a:lnTo>
                <a:lnTo>
                  <a:pt x="516855" y="174806"/>
                </a:lnTo>
                <a:lnTo>
                  <a:pt x="714591" y="174806"/>
                </a:lnTo>
                <a:lnTo>
                  <a:pt x="714591" y="219159"/>
                </a:lnTo>
                <a:lnTo>
                  <a:pt x="516855" y="219159"/>
                </a:lnTo>
                <a:lnTo>
                  <a:pt x="516855" y="360048"/>
                </a:lnTo>
                <a:lnTo>
                  <a:pt x="752442" y="360048"/>
                </a:lnTo>
                <a:lnTo>
                  <a:pt x="752442" y="405054"/>
                </a:lnTo>
                <a:close/>
                <a:moveTo>
                  <a:pt x="2077861" y="234161"/>
                </a:moveTo>
                <a:cubicBezTo>
                  <a:pt x="2132679" y="219812"/>
                  <a:pt x="2166614" y="178067"/>
                  <a:pt x="2166614" y="120016"/>
                </a:cubicBezTo>
                <a:cubicBezTo>
                  <a:pt x="2166614" y="46311"/>
                  <a:pt x="2113101" y="0"/>
                  <a:pt x="2031527" y="0"/>
                </a:cubicBezTo>
                <a:lnTo>
                  <a:pt x="1858589" y="0"/>
                </a:lnTo>
                <a:lnTo>
                  <a:pt x="1858589" y="404401"/>
                </a:lnTo>
                <a:lnTo>
                  <a:pt x="1907534" y="404401"/>
                </a:lnTo>
                <a:lnTo>
                  <a:pt x="1907534" y="240032"/>
                </a:lnTo>
                <a:lnTo>
                  <a:pt x="2025001" y="240032"/>
                </a:lnTo>
                <a:lnTo>
                  <a:pt x="2120280" y="404401"/>
                </a:lnTo>
                <a:lnTo>
                  <a:pt x="2178360" y="404401"/>
                </a:lnTo>
                <a:lnTo>
                  <a:pt x="2077861" y="234161"/>
                </a:lnTo>
                <a:close/>
                <a:moveTo>
                  <a:pt x="1907534" y="196330"/>
                </a:moveTo>
                <a:lnTo>
                  <a:pt x="1907534" y="45006"/>
                </a:lnTo>
                <a:lnTo>
                  <a:pt x="2029569" y="45006"/>
                </a:lnTo>
                <a:cubicBezTo>
                  <a:pt x="2086345" y="45006"/>
                  <a:pt x="2115059" y="73705"/>
                  <a:pt x="2115059" y="120668"/>
                </a:cubicBezTo>
                <a:cubicBezTo>
                  <a:pt x="2115059" y="166326"/>
                  <a:pt x="2085692" y="196983"/>
                  <a:pt x="2029569" y="196983"/>
                </a:cubicBezTo>
                <a:lnTo>
                  <a:pt x="1907534" y="196983"/>
                </a:lnTo>
                <a:close/>
                <a:moveTo>
                  <a:pt x="2610378" y="652"/>
                </a:moveTo>
                <a:lnTo>
                  <a:pt x="2610378" y="405054"/>
                </a:lnTo>
                <a:lnTo>
                  <a:pt x="2325847" y="405054"/>
                </a:lnTo>
                <a:lnTo>
                  <a:pt x="2325847" y="360700"/>
                </a:lnTo>
                <a:lnTo>
                  <a:pt x="2561433" y="360700"/>
                </a:lnTo>
                <a:lnTo>
                  <a:pt x="2561433" y="219812"/>
                </a:lnTo>
                <a:lnTo>
                  <a:pt x="2363697" y="219812"/>
                </a:lnTo>
                <a:lnTo>
                  <a:pt x="2363697" y="175458"/>
                </a:lnTo>
                <a:lnTo>
                  <a:pt x="2561433" y="175458"/>
                </a:lnTo>
                <a:lnTo>
                  <a:pt x="2561433" y="45658"/>
                </a:lnTo>
                <a:lnTo>
                  <a:pt x="2332373" y="45658"/>
                </a:lnTo>
                <a:lnTo>
                  <a:pt x="2332373" y="1305"/>
                </a:lnTo>
                <a:lnTo>
                  <a:pt x="2610378" y="1305"/>
                </a:lnTo>
                <a:close/>
                <a:moveTo>
                  <a:pt x="29367" y="715530"/>
                </a:moveTo>
                <a:lnTo>
                  <a:pt x="0" y="715530"/>
                </a:lnTo>
                <a:lnTo>
                  <a:pt x="0" y="567466"/>
                </a:lnTo>
                <a:lnTo>
                  <a:pt x="29367" y="567466"/>
                </a:lnTo>
                <a:lnTo>
                  <a:pt x="29367" y="715530"/>
                </a:lnTo>
                <a:close/>
                <a:moveTo>
                  <a:pt x="78964" y="567466"/>
                </a:moveTo>
                <a:lnTo>
                  <a:pt x="110289" y="567466"/>
                </a:lnTo>
                <a:lnTo>
                  <a:pt x="157928" y="665958"/>
                </a:lnTo>
                <a:lnTo>
                  <a:pt x="205567" y="567466"/>
                </a:lnTo>
                <a:lnTo>
                  <a:pt x="236892" y="567466"/>
                </a:lnTo>
                <a:lnTo>
                  <a:pt x="236892" y="715530"/>
                </a:lnTo>
                <a:lnTo>
                  <a:pt x="207525" y="715530"/>
                </a:lnTo>
                <a:lnTo>
                  <a:pt x="207525" y="624865"/>
                </a:lnTo>
                <a:lnTo>
                  <a:pt x="167717" y="705746"/>
                </a:lnTo>
                <a:lnTo>
                  <a:pt x="148792" y="705746"/>
                </a:lnTo>
                <a:lnTo>
                  <a:pt x="108983" y="624865"/>
                </a:lnTo>
                <a:lnTo>
                  <a:pt x="108983" y="715530"/>
                </a:lnTo>
                <a:lnTo>
                  <a:pt x="79617" y="715530"/>
                </a:lnTo>
                <a:lnTo>
                  <a:pt x="79617" y="567466"/>
                </a:lnTo>
                <a:close/>
                <a:moveTo>
                  <a:pt x="281921" y="715530"/>
                </a:moveTo>
                <a:lnTo>
                  <a:pt x="281921" y="567466"/>
                </a:lnTo>
                <a:lnTo>
                  <a:pt x="346528" y="567466"/>
                </a:lnTo>
                <a:cubicBezTo>
                  <a:pt x="378505" y="567466"/>
                  <a:pt x="399388" y="587034"/>
                  <a:pt x="399388" y="616386"/>
                </a:cubicBezTo>
                <a:cubicBezTo>
                  <a:pt x="399388" y="644433"/>
                  <a:pt x="378505" y="664653"/>
                  <a:pt x="346528" y="664653"/>
                </a:cubicBezTo>
                <a:lnTo>
                  <a:pt x="311288" y="664653"/>
                </a:lnTo>
                <a:lnTo>
                  <a:pt x="311288" y="715530"/>
                </a:lnTo>
                <a:lnTo>
                  <a:pt x="281921" y="715530"/>
                </a:lnTo>
                <a:close/>
                <a:moveTo>
                  <a:pt x="311288" y="639215"/>
                </a:moveTo>
                <a:lnTo>
                  <a:pt x="344570" y="639215"/>
                </a:lnTo>
                <a:cubicBezTo>
                  <a:pt x="360885" y="639215"/>
                  <a:pt x="369369" y="628779"/>
                  <a:pt x="369369" y="616386"/>
                </a:cubicBezTo>
                <a:cubicBezTo>
                  <a:pt x="369369" y="602688"/>
                  <a:pt x="360885" y="592905"/>
                  <a:pt x="344570" y="592905"/>
                </a:cubicBezTo>
                <a:lnTo>
                  <a:pt x="311288" y="592905"/>
                </a:lnTo>
                <a:lnTo>
                  <a:pt x="311288" y="639215"/>
                </a:lnTo>
                <a:close/>
                <a:moveTo>
                  <a:pt x="426144" y="641824"/>
                </a:moveTo>
                <a:cubicBezTo>
                  <a:pt x="426144" y="596818"/>
                  <a:pt x="458774" y="565510"/>
                  <a:pt x="503803" y="565510"/>
                </a:cubicBezTo>
                <a:cubicBezTo>
                  <a:pt x="548832" y="565510"/>
                  <a:pt x="581462" y="597470"/>
                  <a:pt x="581462" y="641824"/>
                </a:cubicBezTo>
                <a:cubicBezTo>
                  <a:pt x="581462" y="686830"/>
                  <a:pt x="548832" y="717486"/>
                  <a:pt x="503803" y="717486"/>
                </a:cubicBezTo>
                <a:cubicBezTo>
                  <a:pt x="458774" y="718139"/>
                  <a:pt x="426144" y="686830"/>
                  <a:pt x="426144" y="641824"/>
                </a:cubicBezTo>
                <a:close/>
                <a:moveTo>
                  <a:pt x="503803" y="690744"/>
                </a:moveTo>
                <a:cubicBezTo>
                  <a:pt x="531865" y="690744"/>
                  <a:pt x="551442" y="671176"/>
                  <a:pt x="551442" y="641824"/>
                </a:cubicBezTo>
                <a:cubicBezTo>
                  <a:pt x="551442" y="613125"/>
                  <a:pt x="531865" y="592905"/>
                  <a:pt x="503803" y="592905"/>
                </a:cubicBezTo>
                <a:cubicBezTo>
                  <a:pt x="476394" y="592905"/>
                  <a:pt x="456164" y="613125"/>
                  <a:pt x="456164" y="641824"/>
                </a:cubicBezTo>
                <a:cubicBezTo>
                  <a:pt x="456816" y="670523"/>
                  <a:pt x="476394" y="690744"/>
                  <a:pt x="503803" y="690744"/>
                </a:cubicBezTo>
                <a:close/>
                <a:moveTo>
                  <a:pt x="629754" y="667262"/>
                </a:moveTo>
                <a:cubicBezTo>
                  <a:pt x="636932" y="681612"/>
                  <a:pt x="649984" y="691396"/>
                  <a:pt x="667604" y="691396"/>
                </a:cubicBezTo>
                <a:cubicBezTo>
                  <a:pt x="681961" y="691396"/>
                  <a:pt x="693055" y="684221"/>
                  <a:pt x="693055" y="675089"/>
                </a:cubicBezTo>
                <a:cubicBezTo>
                  <a:pt x="693055" y="665305"/>
                  <a:pt x="681961" y="660087"/>
                  <a:pt x="664341" y="654217"/>
                </a:cubicBezTo>
                <a:cubicBezTo>
                  <a:pt x="635627" y="645085"/>
                  <a:pt x="612786" y="636606"/>
                  <a:pt x="612786" y="607907"/>
                </a:cubicBezTo>
                <a:cubicBezTo>
                  <a:pt x="612786" y="579859"/>
                  <a:pt x="640195" y="565510"/>
                  <a:pt x="664994" y="565510"/>
                </a:cubicBezTo>
                <a:cubicBezTo>
                  <a:pt x="691750" y="565510"/>
                  <a:pt x="710676" y="581164"/>
                  <a:pt x="719812" y="597470"/>
                </a:cubicBezTo>
                <a:lnTo>
                  <a:pt x="696971" y="613777"/>
                </a:lnTo>
                <a:cubicBezTo>
                  <a:pt x="690445" y="602688"/>
                  <a:pt x="680004" y="592252"/>
                  <a:pt x="664341" y="592252"/>
                </a:cubicBezTo>
                <a:cubicBezTo>
                  <a:pt x="652594" y="592252"/>
                  <a:pt x="642806" y="598123"/>
                  <a:pt x="642806" y="607907"/>
                </a:cubicBezTo>
                <a:cubicBezTo>
                  <a:pt x="642806" y="619647"/>
                  <a:pt x="653900" y="621604"/>
                  <a:pt x="672172" y="628127"/>
                </a:cubicBezTo>
                <a:cubicBezTo>
                  <a:pt x="700234" y="637910"/>
                  <a:pt x="723075" y="645738"/>
                  <a:pt x="723075" y="674437"/>
                </a:cubicBezTo>
                <a:cubicBezTo>
                  <a:pt x="723075" y="703789"/>
                  <a:pt x="693708" y="717486"/>
                  <a:pt x="666952" y="717486"/>
                </a:cubicBezTo>
                <a:cubicBezTo>
                  <a:pt x="638238" y="717486"/>
                  <a:pt x="616049" y="702484"/>
                  <a:pt x="607566" y="682264"/>
                </a:cubicBezTo>
                <a:lnTo>
                  <a:pt x="629754" y="667262"/>
                </a:lnTo>
                <a:close/>
                <a:moveTo>
                  <a:pt x="770714" y="667262"/>
                </a:moveTo>
                <a:cubicBezTo>
                  <a:pt x="777893" y="681612"/>
                  <a:pt x="790945" y="691396"/>
                  <a:pt x="808565" y="691396"/>
                </a:cubicBezTo>
                <a:cubicBezTo>
                  <a:pt x="822922" y="691396"/>
                  <a:pt x="834016" y="684221"/>
                  <a:pt x="834016" y="675089"/>
                </a:cubicBezTo>
                <a:cubicBezTo>
                  <a:pt x="834016" y="665305"/>
                  <a:pt x="822922" y="660087"/>
                  <a:pt x="805302" y="654217"/>
                </a:cubicBezTo>
                <a:cubicBezTo>
                  <a:pt x="776587" y="645085"/>
                  <a:pt x="753747" y="636606"/>
                  <a:pt x="753747" y="607907"/>
                </a:cubicBezTo>
                <a:cubicBezTo>
                  <a:pt x="753747" y="579859"/>
                  <a:pt x="781156" y="565510"/>
                  <a:pt x="805954" y="565510"/>
                </a:cubicBezTo>
                <a:cubicBezTo>
                  <a:pt x="832711" y="565510"/>
                  <a:pt x="851636" y="581164"/>
                  <a:pt x="860772" y="597470"/>
                </a:cubicBezTo>
                <a:lnTo>
                  <a:pt x="837931" y="613777"/>
                </a:lnTo>
                <a:cubicBezTo>
                  <a:pt x="831406" y="602688"/>
                  <a:pt x="820964" y="592252"/>
                  <a:pt x="805302" y="592252"/>
                </a:cubicBezTo>
                <a:cubicBezTo>
                  <a:pt x="793555" y="592252"/>
                  <a:pt x="783766" y="598123"/>
                  <a:pt x="783766" y="607907"/>
                </a:cubicBezTo>
                <a:cubicBezTo>
                  <a:pt x="783766" y="619647"/>
                  <a:pt x="794860" y="621604"/>
                  <a:pt x="813133" y="628127"/>
                </a:cubicBezTo>
                <a:cubicBezTo>
                  <a:pt x="841194" y="637910"/>
                  <a:pt x="864035" y="645738"/>
                  <a:pt x="864035" y="674437"/>
                </a:cubicBezTo>
                <a:cubicBezTo>
                  <a:pt x="864035" y="703789"/>
                  <a:pt x="834669" y="717486"/>
                  <a:pt x="807912" y="717486"/>
                </a:cubicBezTo>
                <a:cubicBezTo>
                  <a:pt x="779198" y="717486"/>
                  <a:pt x="757010" y="702484"/>
                  <a:pt x="748526" y="682264"/>
                </a:cubicBezTo>
                <a:lnTo>
                  <a:pt x="770714" y="667262"/>
                </a:lnTo>
                <a:close/>
                <a:moveTo>
                  <a:pt x="933863" y="715530"/>
                </a:moveTo>
                <a:lnTo>
                  <a:pt x="904496" y="715530"/>
                </a:lnTo>
                <a:lnTo>
                  <a:pt x="904496" y="567466"/>
                </a:lnTo>
                <a:lnTo>
                  <a:pt x="933863" y="567466"/>
                </a:lnTo>
                <a:lnTo>
                  <a:pt x="933863" y="715530"/>
                </a:lnTo>
                <a:close/>
                <a:moveTo>
                  <a:pt x="978892" y="567466"/>
                </a:moveTo>
                <a:lnTo>
                  <a:pt x="1047414" y="567466"/>
                </a:lnTo>
                <a:cubicBezTo>
                  <a:pt x="1074171" y="567466"/>
                  <a:pt x="1093096" y="583773"/>
                  <a:pt x="1093096" y="607907"/>
                </a:cubicBezTo>
                <a:cubicBezTo>
                  <a:pt x="1093096" y="617691"/>
                  <a:pt x="1087875" y="633345"/>
                  <a:pt x="1073518" y="638563"/>
                </a:cubicBezTo>
                <a:cubicBezTo>
                  <a:pt x="1089833" y="645085"/>
                  <a:pt x="1098316" y="658783"/>
                  <a:pt x="1098316" y="674437"/>
                </a:cubicBezTo>
                <a:cubicBezTo>
                  <a:pt x="1098316" y="698571"/>
                  <a:pt x="1079391" y="715530"/>
                  <a:pt x="1051982" y="715530"/>
                </a:cubicBezTo>
                <a:lnTo>
                  <a:pt x="978892" y="715530"/>
                </a:lnTo>
                <a:lnTo>
                  <a:pt x="978892" y="567466"/>
                </a:lnTo>
                <a:close/>
                <a:moveTo>
                  <a:pt x="1008258" y="592905"/>
                </a:moveTo>
                <a:lnTo>
                  <a:pt x="1008258" y="629431"/>
                </a:lnTo>
                <a:lnTo>
                  <a:pt x="1042846" y="629431"/>
                </a:lnTo>
                <a:cubicBezTo>
                  <a:pt x="1055245" y="629431"/>
                  <a:pt x="1062424" y="621604"/>
                  <a:pt x="1062424" y="611820"/>
                </a:cubicBezTo>
                <a:cubicBezTo>
                  <a:pt x="1062424" y="600079"/>
                  <a:pt x="1053940" y="593557"/>
                  <a:pt x="1042193" y="593557"/>
                </a:cubicBezTo>
                <a:lnTo>
                  <a:pt x="1008258" y="593557"/>
                </a:lnTo>
                <a:close/>
                <a:moveTo>
                  <a:pt x="1008258" y="652260"/>
                </a:moveTo>
                <a:lnTo>
                  <a:pt x="1008258" y="690744"/>
                </a:lnTo>
                <a:lnTo>
                  <a:pt x="1046762" y="690744"/>
                </a:lnTo>
                <a:cubicBezTo>
                  <a:pt x="1058508" y="690744"/>
                  <a:pt x="1066340" y="682917"/>
                  <a:pt x="1066340" y="672480"/>
                </a:cubicBezTo>
                <a:cubicBezTo>
                  <a:pt x="1066340" y="660087"/>
                  <a:pt x="1058508" y="652260"/>
                  <a:pt x="1046762" y="652260"/>
                </a:cubicBezTo>
                <a:lnTo>
                  <a:pt x="1008258" y="652260"/>
                </a:lnTo>
                <a:close/>
                <a:moveTo>
                  <a:pt x="1247108" y="715530"/>
                </a:moveTo>
                <a:lnTo>
                  <a:pt x="1137472" y="715530"/>
                </a:lnTo>
                <a:lnTo>
                  <a:pt x="1137472" y="567466"/>
                </a:lnTo>
                <a:lnTo>
                  <a:pt x="1166839" y="567466"/>
                </a:lnTo>
                <a:lnTo>
                  <a:pt x="1166839" y="690091"/>
                </a:lnTo>
                <a:lnTo>
                  <a:pt x="1246455" y="690091"/>
                </a:lnTo>
                <a:lnTo>
                  <a:pt x="1246455" y="715530"/>
                </a:lnTo>
                <a:close/>
                <a:moveTo>
                  <a:pt x="1281043" y="567466"/>
                </a:moveTo>
                <a:lnTo>
                  <a:pt x="1386763" y="567466"/>
                </a:lnTo>
                <a:lnTo>
                  <a:pt x="1386763" y="592905"/>
                </a:lnTo>
                <a:lnTo>
                  <a:pt x="1311062" y="592905"/>
                </a:lnTo>
                <a:lnTo>
                  <a:pt x="1311062" y="626822"/>
                </a:lnTo>
                <a:lnTo>
                  <a:pt x="1376974" y="626822"/>
                </a:lnTo>
                <a:lnTo>
                  <a:pt x="1376974" y="652260"/>
                </a:lnTo>
                <a:lnTo>
                  <a:pt x="1311062" y="652260"/>
                </a:lnTo>
                <a:lnTo>
                  <a:pt x="1311062" y="690091"/>
                </a:lnTo>
                <a:lnTo>
                  <a:pt x="1388721" y="690091"/>
                </a:lnTo>
                <a:lnTo>
                  <a:pt x="1388721" y="715530"/>
                </a:lnTo>
                <a:lnTo>
                  <a:pt x="1281696" y="715530"/>
                </a:lnTo>
                <a:lnTo>
                  <a:pt x="1281696" y="567466"/>
                </a:lnTo>
                <a:close/>
                <a:moveTo>
                  <a:pt x="1504230" y="715530"/>
                </a:moveTo>
                <a:lnTo>
                  <a:pt x="1504230" y="567466"/>
                </a:lnTo>
                <a:lnTo>
                  <a:pt x="1530987" y="567466"/>
                </a:lnTo>
                <a:lnTo>
                  <a:pt x="1613214" y="669219"/>
                </a:lnTo>
                <a:lnTo>
                  <a:pt x="1613214" y="567466"/>
                </a:lnTo>
                <a:lnTo>
                  <a:pt x="1642580" y="567466"/>
                </a:lnTo>
                <a:lnTo>
                  <a:pt x="1642580" y="715530"/>
                </a:lnTo>
                <a:lnTo>
                  <a:pt x="1615171" y="715530"/>
                </a:lnTo>
                <a:lnTo>
                  <a:pt x="1533597" y="615081"/>
                </a:lnTo>
                <a:lnTo>
                  <a:pt x="1533597" y="715530"/>
                </a:lnTo>
                <a:lnTo>
                  <a:pt x="1504230" y="715530"/>
                </a:lnTo>
                <a:close/>
                <a:moveTo>
                  <a:pt x="1682388" y="641824"/>
                </a:moveTo>
                <a:cubicBezTo>
                  <a:pt x="1682388" y="596818"/>
                  <a:pt x="1715018" y="565510"/>
                  <a:pt x="1760047" y="565510"/>
                </a:cubicBezTo>
                <a:cubicBezTo>
                  <a:pt x="1805077" y="565510"/>
                  <a:pt x="1837706" y="597470"/>
                  <a:pt x="1837706" y="641824"/>
                </a:cubicBezTo>
                <a:cubicBezTo>
                  <a:pt x="1837706" y="686830"/>
                  <a:pt x="1805077" y="717486"/>
                  <a:pt x="1760047" y="717486"/>
                </a:cubicBezTo>
                <a:cubicBezTo>
                  <a:pt x="1715018" y="718139"/>
                  <a:pt x="1682388" y="686830"/>
                  <a:pt x="1682388" y="641824"/>
                </a:cubicBezTo>
                <a:close/>
                <a:moveTo>
                  <a:pt x="1760047" y="690744"/>
                </a:moveTo>
                <a:cubicBezTo>
                  <a:pt x="1788109" y="690744"/>
                  <a:pt x="1807687" y="671176"/>
                  <a:pt x="1807687" y="641824"/>
                </a:cubicBezTo>
                <a:cubicBezTo>
                  <a:pt x="1807687" y="613125"/>
                  <a:pt x="1788109" y="592905"/>
                  <a:pt x="1760047" y="592905"/>
                </a:cubicBezTo>
                <a:cubicBezTo>
                  <a:pt x="1732638" y="592905"/>
                  <a:pt x="1712408" y="613125"/>
                  <a:pt x="1712408" y="641824"/>
                </a:cubicBezTo>
                <a:cubicBezTo>
                  <a:pt x="1712408" y="670523"/>
                  <a:pt x="1732638" y="690744"/>
                  <a:pt x="1760047" y="690744"/>
                </a:cubicBezTo>
                <a:close/>
                <a:moveTo>
                  <a:pt x="1954520" y="567466"/>
                </a:moveTo>
                <a:lnTo>
                  <a:pt x="1985845" y="567466"/>
                </a:lnTo>
                <a:lnTo>
                  <a:pt x="2033485" y="665958"/>
                </a:lnTo>
                <a:lnTo>
                  <a:pt x="2081124" y="567466"/>
                </a:lnTo>
                <a:lnTo>
                  <a:pt x="2112448" y="567466"/>
                </a:lnTo>
                <a:lnTo>
                  <a:pt x="2112448" y="715530"/>
                </a:lnTo>
                <a:lnTo>
                  <a:pt x="2083082" y="715530"/>
                </a:lnTo>
                <a:lnTo>
                  <a:pt x="2083082" y="624865"/>
                </a:lnTo>
                <a:lnTo>
                  <a:pt x="2043274" y="705746"/>
                </a:lnTo>
                <a:lnTo>
                  <a:pt x="2024348" y="705746"/>
                </a:lnTo>
                <a:lnTo>
                  <a:pt x="1984540" y="624865"/>
                </a:lnTo>
                <a:lnTo>
                  <a:pt x="1984540" y="715530"/>
                </a:lnTo>
                <a:lnTo>
                  <a:pt x="1955173" y="715530"/>
                </a:lnTo>
                <a:lnTo>
                  <a:pt x="1955173" y="567466"/>
                </a:lnTo>
                <a:close/>
                <a:moveTo>
                  <a:pt x="2152257" y="641824"/>
                </a:moveTo>
                <a:cubicBezTo>
                  <a:pt x="2152257" y="596818"/>
                  <a:pt x="2184886" y="565510"/>
                  <a:pt x="2229915" y="565510"/>
                </a:cubicBezTo>
                <a:cubicBezTo>
                  <a:pt x="2274945" y="565510"/>
                  <a:pt x="2307574" y="597470"/>
                  <a:pt x="2307574" y="641824"/>
                </a:cubicBezTo>
                <a:cubicBezTo>
                  <a:pt x="2307574" y="686830"/>
                  <a:pt x="2274945" y="717486"/>
                  <a:pt x="2229915" y="717486"/>
                </a:cubicBezTo>
                <a:cubicBezTo>
                  <a:pt x="2184886" y="718139"/>
                  <a:pt x="2152257" y="686830"/>
                  <a:pt x="2152257" y="641824"/>
                </a:cubicBezTo>
                <a:close/>
                <a:moveTo>
                  <a:pt x="2229915" y="690744"/>
                </a:moveTo>
                <a:cubicBezTo>
                  <a:pt x="2257977" y="690744"/>
                  <a:pt x="2277555" y="671176"/>
                  <a:pt x="2277555" y="641824"/>
                </a:cubicBezTo>
                <a:cubicBezTo>
                  <a:pt x="2277555" y="613125"/>
                  <a:pt x="2257977" y="592905"/>
                  <a:pt x="2229915" y="592905"/>
                </a:cubicBezTo>
                <a:cubicBezTo>
                  <a:pt x="2202506" y="592905"/>
                  <a:pt x="2182276" y="613125"/>
                  <a:pt x="2182276" y="641824"/>
                </a:cubicBezTo>
                <a:cubicBezTo>
                  <a:pt x="2182276" y="670523"/>
                  <a:pt x="2202506" y="690744"/>
                  <a:pt x="2229915" y="690744"/>
                </a:cubicBezTo>
                <a:close/>
                <a:moveTo>
                  <a:pt x="2342814" y="715530"/>
                </a:moveTo>
                <a:lnTo>
                  <a:pt x="2342814" y="567466"/>
                </a:lnTo>
                <a:lnTo>
                  <a:pt x="2408074" y="567466"/>
                </a:lnTo>
                <a:cubicBezTo>
                  <a:pt x="2440051" y="567466"/>
                  <a:pt x="2460934" y="586382"/>
                  <a:pt x="2460934" y="615081"/>
                </a:cubicBezTo>
                <a:cubicBezTo>
                  <a:pt x="2460934" y="633997"/>
                  <a:pt x="2450492" y="649651"/>
                  <a:pt x="2433525" y="656826"/>
                </a:cubicBezTo>
                <a:lnTo>
                  <a:pt x="2466807" y="715530"/>
                </a:lnTo>
                <a:lnTo>
                  <a:pt x="2434177" y="715530"/>
                </a:lnTo>
                <a:lnTo>
                  <a:pt x="2404158" y="661392"/>
                </a:lnTo>
                <a:lnTo>
                  <a:pt x="2372181" y="661392"/>
                </a:lnTo>
                <a:lnTo>
                  <a:pt x="2372181" y="714877"/>
                </a:lnTo>
                <a:lnTo>
                  <a:pt x="2342814" y="714877"/>
                </a:lnTo>
                <a:close/>
                <a:moveTo>
                  <a:pt x="2372181" y="635954"/>
                </a:moveTo>
                <a:lnTo>
                  <a:pt x="2406116" y="635954"/>
                </a:lnTo>
                <a:cubicBezTo>
                  <a:pt x="2422431" y="635954"/>
                  <a:pt x="2430914" y="626170"/>
                  <a:pt x="2430914" y="615081"/>
                </a:cubicBezTo>
                <a:cubicBezTo>
                  <a:pt x="2430914" y="602688"/>
                  <a:pt x="2422431" y="592905"/>
                  <a:pt x="2406116" y="592905"/>
                </a:cubicBezTo>
                <a:lnTo>
                  <a:pt x="2372181" y="592905"/>
                </a:lnTo>
                <a:lnTo>
                  <a:pt x="2372181" y="635954"/>
                </a:lnTo>
                <a:close/>
                <a:moveTo>
                  <a:pt x="2503353" y="567466"/>
                </a:moveTo>
                <a:lnTo>
                  <a:pt x="2609073" y="567466"/>
                </a:lnTo>
                <a:lnTo>
                  <a:pt x="2609073" y="592905"/>
                </a:lnTo>
                <a:lnTo>
                  <a:pt x="2533372" y="592905"/>
                </a:lnTo>
                <a:lnTo>
                  <a:pt x="2533372" y="626822"/>
                </a:lnTo>
                <a:lnTo>
                  <a:pt x="2598631" y="626822"/>
                </a:lnTo>
                <a:lnTo>
                  <a:pt x="2598631" y="652260"/>
                </a:lnTo>
                <a:lnTo>
                  <a:pt x="2532719" y="652260"/>
                </a:lnTo>
                <a:lnTo>
                  <a:pt x="2532719" y="690091"/>
                </a:lnTo>
                <a:lnTo>
                  <a:pt x="2610378" y="690091"/>
                </a:lnTo>
                <a:lnTo>
                  <a:pt x="2610378" y="715530"/>
                </a:lnTo>
                <a:lnTo>
                  <a:pt x="2503353" y="715530"/>
                </a:lnTo>
                <a:lnTo>
                  <a:pt x="2503353" y="567466"/>
                </a:lnTo>
                <a:close/>
              </a:path>
            </a:pathLst>
          </a:custGeom>
          <a:solidFill>
            <a:schemeClr val="tx1"/>
          </a:solidFill>
          <a:ln w="6526" cap="flat">
            <a:noFill/>
            <a:prstDash val="solid"/>
            <a:miter/>
          </a:ln>
        </p:spPr>
        <p:txBody>
          <a:bodyPr rtlCol="0" anchor="ctr"/>
          <a:lstStyle/>
          <a:p>
            <a:pPr marL="0" indent="0">
              <a:tabLst>
                <a:tab pos="755650" algn="l"/>
              </a:tabLst>
            </a:pPr>
            <a:endParaRPr lang="en-US" b="0" i="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2155333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 Light">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08B6E66-59FF-AD79-D717-BBD8636263CA}"/>
              </a:ext>
            </a:extLst>
          </p:cNvPr>
          <p:cNvGraphicFramePr>
            <a:graphicFrameLocks noChangeAspect="1"/>
          </p:cNvGraphicFramePr>
          <p:nvPr userDrawn="1">
            <p:custDataLst>
              <p:tags r:id="rId1"/>
            </p:custDataLst>
            <p:extLst>
              <p:ext uri="{D42A27DB-BD31-4B8C-83A1-F6EECF244321}">
                <p14:modId xmlns:p14="http://schemas.microsoft.com/office/powerpoint/2010/main" val="92463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9" name="think-cell data - do not delete" hidden="1">
                        <a:extLst>
                          <a:ext uri="{FF2B5EF4-FFF2-40B4-BE49-F238E27FC236}">
                            <a16:creationId xmlns:a16="http://schemas.microsoft.com/office/drawing/2014/main" id="{F08B6E66-59FF-AD79-D717-BBD863626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Graphic 4">
            <a:extLst>
              <a:ext uri="{FF2B5EF4-FFF2-40B4-BE49-F238E27FC236}">
                <a16:creationId xmlns:a16="http://schemas.microsoft.com/office/drawing/2014/main" id="{597E2DEF-4E55-0A5F-B449-0138385E0BA8}"/>
              </a:ext>
            </a:extLst>
          </p:cNvPr>
          <p:cNvSpPr/>
          <p:nvPr userDrawn="1"/>
        </p:nvSpPr>
        <p:spPr>
          <a:xfrm>
            <a:off x="3810394" y="-1895061"/>
            <a:ext cx="10778341" cy="10774017"/>
          </a:xfrm>
          <a:custGeom>
            <a:avLst/>
            <a:gdLst>
              <a:gd name="connsiteX0" fmla="*/ 2375535 w 2375535"/>
              <a:gd name="connsiteY0" fmla="*/ 741045 h 2374582"/>
              <a:gd name="connsiteX1" fmla="*/ 1634490 w 2375535"/>
              <a:gd name="connsiteY1" fmla="*/ 0 h 2374582"/>
              <a:gd name="connsiteX2" fmla="*/ 1187768 w 2375535"/>
              <a:gd name="connsiteY2" fmla="*/ 446723 h 2374582"/>
              <a:gd name="connsiteX3" fmla="*/ 741045 w 2375535"/>
              <a:gd name="connsiteY3" fmla="*/ 0 h 2374582"/>
              <a:gd name="connsiteX4" fmla="*/ 0 w 2375535"/>
              <a:gd name="connsiteY4" fmla="*/ 741045 h 2374582"/>
              <a:gd name="connsiteX5" fmla="*/ 446723 w 2375535"/>
              <a:gd name="connsiteY5" fmla="*/ 1187768 h 2374582"/>
              <a:gd name="connsiteX6" fmla="*/ 0 w 2375535"/>
              <a:gd name="connsiteY6" fmla="*/ 1633538 h 2374582"/>
              <a:gd name="connsiteX7" fmla="*/ 741045 w 2375535"/>
              <a:gd name="connsiteY7" fmla="*/ 2374583 h 2374582"/>
              <a:gd name="connsiteX8" fmla="*/ 1187768 w 2375535"/>
              <a:gd name="connsiteY8" fmla="*/ 1927860 h 2374582"/>
              <a:gd name="connsiteX9" fmla="*/ 1634490 w 2375535"/>
              <a:gd name="connsiteY9" fmla="*/ 2374583 h 2374582"/>
              <a:gd name="connsiteX10" fmla="*/ 2375535 w 2375535"/>
              <a:gd name="connsiteY10" fmla="*/ 1633538 h 2374582"/>
              <a:gd name="connsiteX11" fmla="*/ 1928813 w 2375535"/>
              <a:gd name="connsiteY11" fmla="*/ 1186815 h 2374582"/>
              <a:gd name="connsiteX12" fmla="*/ 2375535 w 2375535"/>
              <a:gd name="connsiteY12" fmla="*/ 741045 h 2374582"/>
              <a:gd name="connsiteX13" fmla="*/ 2206943 w 2375535"/>
              <a:gd name="connsiteY13" fmla="*/ 741045 h 2374582"/>
              <a:gd name="connsiteX14" fmla="*/ 1844040 w 2375535"/>
              <a:gd name="connsiteY14" fmla="*/ 1103948 h 2374582"/>
              <a:gd name="connsiteX15" fmla="*/ 1600200 w 2375535"/>
              <a:gd name="connsiteY15" fmla="*/ 860108 h 2374582"/>
              <a:gd name="connsiteX16" fmla="*/ 1963103 w 2375535"/>
              <a:gd name="connsiteY16" fmla="*/ 497205 h 2374582"/>
              <a:gd name="connsiteX17" fmla="*/ 2206943 w 2375535"/>
              <a:gd name="connsiteY17" fmla="*/ 741045 h 2374582"/>
              <a:gd name="connsiteX18" fmla="*/ 1616393 w 2375535"/>
              <a:gd name="connsiteY18" fmla="*/ 1043940 h 2374582"/>
              <a:gd name="connsiteX19" fmla="*/ 1557338 w 2375535"/>
              <a:gd name="connsiteY19" fmla="*/ 1102995 h 2374582"/>
              <a:gd name="connsiteX20" fmla="*/ 1271588 w 2375535"/>
              <a:gd name="connsiteY20" fmla="*/ 817245 h 2374582"/>
              <a:gd name="connsiteX21" fmla="*/ 1330643 w 2375535"/>
              <a:gd name="connsiteY21" fmla="*/ 758190 h 2374582"/>
              <a:gd name="connsiteX22" fmla="*/ 1616393 w 2375535"/>
              <a:gd name="connsiteY22" fmla="*/ 1043940 h 2374582"/>
              <a:gd name="connsiteX23" fmla="*/ 1187768 w 2375535"/>
              <a:gd name="connsiteY23" fmla="*/ 1102995 h 2374582"/>
              <a:gd name="connsiteX24" fmla="*/ 1086803 w 2375535"/>
              <a:gd name="connsiteY24" fmla="*/ 1002030 h 2374582"/>
              <a:gd name="connsiteX25" fmla="*/ 1187768 w 2375535"/>
              <a:gd name="connsiteY25" fmla="*/ 902018 h 2374582"/>
              <a:gd name="connsiteX26" fmla="*/ 1288733 w 2375535"/>
              <a:gd name="connsiteY26" fmla="*/ 1002983 h 2374582"/>
              <a:gd name="connsiteX27" fmla="*/ 1187768 w 2375535"/>
              <a:gd name="connsiteY27" fmla="*/ 1102995 h 2374582"/>
              <a:gd name="connsiteX28" fmla="*/ 1002983 w 2375535"/>
              <a:gd name="connsiteY28" fmla="*/ 1086803 h 2374582"/>
              <a:gd name="connsiteX29" fmla="*/ 1103948 w 2375535"/>
              <a:gd name="connsiteY29" fmla="*/ 1187768 h 2374582"/>
              <a:gd name="connsiteX30" fmla="*/ 1002983 w 2375535"/>
              <a:gd name="connsiteY30" fmla="*/ 1288733 h 2374582"/>
              <a:gd name="connsiteX31" fmla="*/ 902018 w 2375535"/>
              <a:gd name="connsiteY31" fmla="*/ 1187768 h 2374582"/>
              <a:gd name="connsiteX32" fmla="*/ 1002983 w 2375535"/>
              <a:gd name="connsiteY32" fmla="*/ 1086803 h 2374582"/>
              <a:gd name="connsiteX33" fmla="*/ 1187768 w 2375535"/>
              <a:gd name="connsiteY33" fmla="*/ 1271588 h 2374582"/>
              <a:gd name="connsiteX34" fmla="*/ 1288733 w 2375535"/>
              <a:gd name="connsiteY34" fmla="*/ 1372553 h 2374582"/>
              <a:gd name="connsiteX35" fmla="*/ 1187768 w 2375535"/>
              <a:gd name="connsiteY35" fmla="*/ 1473518 h 2374582"/>
              <a:gd name="connsiteX36" fmla="*/ 1086803 w 2375535"/>
              <a:gd name="connsiteY36" fmla="*/ 1372553 h 2374582"/>
              <a:gd name="connsiteX37" fmla="*/ 1187768 w 2375535"/>
              <a:gd name="connsiteY37" fmla="*/ 1271588 h 2374582"/>
              <a:gd name="connsiteX38" fmla="*/ 1372553 w 2375535"/>
              <a:gd name="connsiteY38" fmla="*/ 1287780 h 2374582"/>
              <a:gd name="connsiteX39" fmla="*/ 1271588 w 2375535"/>
              <a:gd name="connsiteY39" fmla="*/ 1186815 h 2374582"/>
              <a:gd name="connsiteX40" fmla="*/ 1372553 w 2375535"/>
              <a:gd name="connsiteY40" fmla="*/ 1085850 h 2374582"/>
              <a:gd name="connsiteX41" fmla="*/ 1473518 w 2375535"/>
              <a:gd name="connsiteY41" fmla="*/ 1186815 h 2374582"/>
              <a:gd name="connsiteX42" fmla="*/ 1372553 w 2375535"/>
              <a:gd name="connsiteY42" fmla="*/ 1287780 h 2374582"/>
              <a:gd name="connsiteX43" fmla="*/ 1187768 w 2375535"/>
              <a:gd name="connsiteY43" fmla="*/ 733425 h 2374582"/>
              <a:gd name="connsiteX44" fmla="*/ 1128713 w 2375535"/>
              <a:gd name="connsiteY44" fmla="*/ 674370 h 2374582"/>
              <a:gd name="connsiteX45" fmla="*/ 1187768 w 2375535"/>
              <a:gd name="connsiteY45" fmla="*/ 615315 h 2374582"/>
              <a:gd name="connsiteX46" fmla="*/ 1246823 w 2375535"/>
              <a:gd name="connsiteY46" fmla="*/ 674370 h 2374582"/>
              <a:gd name="connsiteX47" fmla="*/ 1187768 w 2375535"/>
              <a:gd name="connsiteY47" fmla="*/ 733425 h 2374582"/>
              <a:gd name="connsiteX48" fmla="*/ 1103948 w 2375535"/>
              <a:gd name="connsiteY48" fmla="*/ 817245 h 2374582"/>
              <a:gd name="connsiteX49" fmla="*/ 818198 w 2375535"/>
              <a:gd name="connsiteY49" fmla="*/ 1102995 h 2374582"/>
              <a:gd name="connsiteX50" fmla="*/ 759143 w 2375535"/>
              <a:gd name="connsiteY50" fmla="*/ 1043940 h 2374582"/>
              <a:gd name="connsiteX51" fmla="*/ 1044893 w 2375535"/>
              <a:gd name="connsiteY51" fmla="*/ 758190 h 2374582"/>
              <a:gd name="connsiteX52" fmla="*/ 1103948 w 2375535"/>
              <a:gd name="connsiteY52" fmla="*/ 817245 h 2374582"/>
              <a:gd name="connsiteX53" fmla="*/ 674370 w 2375535"/>
              <a:gd name="connsiteY53" fmla="*/ 1127760 h 2374582"/>
              <a:gd name="connsiteX54" fmla="*/ 733425 w 2375535"/>
              <a:gd name="connsiteY54" fmla="*/ 1186815 h 2374582"/>
              <a:gd name="connsiteX55" fmla="*/ 674370 w 2375535"/>
              <a:gd name="connsiteY55" fmla="*/ 1245870 h 2374582"/>
              <a:gd name="connsiteX56" fmla="*/ 615315 w 2375535"/>
              <a:gd name="connsiteY56" fmla="*/ 1186815 h 2374582"/>
              <a:gd name="connsiteX57" fmla="*/ 674370 w 2375535"/>
              <a:gd name="connsiteY57" fmla="*/ 1127760 h 2374582"/>
              <a:gd name="connsiteX58" fmla="*/ 759143 w 2375535"/>
              <a:gd name="connsiteY58" fmla="*/ 1330643 h 2374582"/>
              <a:gd name="connsiteX59" fmla="*/ 818198 w 2375535"/>
              <a:gd name="connsiteY59" fmla="*/ 1271588 h 2374582"/>
              <a:gd name="connsiteX60" fmla="*/ 1103948 w 2375535"/>
              <a:gd name="connsiteY60" fmla="*/ 1557338 h 2374582"/>
              <a:gd name="connsiteX61" fmla="*/ 1044893 w 2375535"/>
              <a:gd name="connsiteY61" fmla="*/ 1616393 h 2374582"/>
              <a:gd name="connsiteX62" fmla="*/ 759143 w 2375535"/>
              <a:gd name="connsiteY62" fmla="*/ 1330643 h 2374582"/>
              <a:gd name="connsiteX63" fmla="*/ 1187768 w 2375535"/>
              <a:gd name="connsiteY63" fmla="*/ 1641158 h 2374582"/>
              <a:gd name="connsiteX64" fmla="*/ 1246823 w 2375535"/>
              <a:gd name="connsiteY64" fmla="*/ 1700213 h 2374582"/>
              <a:gd name="connsiteX65" fmla="*/ 1187768 w 2375535"/>
              <a:gd name="connsiteY65" fmla="*/ 1759268 h 2374582"/>
              <a:gd name="connsiteX66" fmla="*/ 1128713 w 2375535"/>
              <a:gd name="connsiteY66" fmla="*/ 1700213 h 2374582"/>
              <a:gd name="connsiteX67" fmla="*/ 1187768 w 2375535"/>
              <a:gd name="connsiteY67" fmla="*/ 1641158 h 2374582"/>
              <a:gd name="connsiteX68" fmla="*/ 1271588 w 2375535"/>
              <a:gd name="connsiteY68" fmla="*/ 1556385 h 2374582"/>
              <a:gd name="connsiteX69" fmla="*/ 1557338 w 2375535"/>
              <a:gd name="connsiteY69" fmla="*/ 1270635 h 2374582"/>
              <a:gd name="connsiteX70" fmla="*/ 1616393 w 2375535"/>
              <a:gd name="connsiteY70" fmla="*/ 1329690 h 2374582"/>
              <a:gd name="connsiteX71" fmla="*/ 1330643 w 2375535"/>
              <a:gd name="connsiteY71" fmla="*/ 1615440 h 2374582"/>
              <a:gd name="connsiteX72" fmla="*/ 1271588 w 2375535"/>
              <a:gd name="connsiteY72" fmla="*/ 1556385 h 2374582"/>
              <a:gd name="connsiteX73" fmla="*/ 1701165 w 2375535"/>
              <a:gd name="connsiteY73" fmla="*/ 1246823 h 2374582"/>
              <a:gd name="connsiteX74" fmla="*/ 1642110 w 2375535"/>
              <a:gd name="connsiteY74" fmla="*/ 1187768 h 2374582"/>
              <a:gd name="connsiteX75" fmla="*/ 1701165 w 2375535"/>
              <a:gd name="connsiteY75" fmla="*/ 1128713 h 2374582"/>
              <a:gd name="connsiteX76" fmla="*/ 1760220 w 2375535"/>
              <a:gd name="connsiteY76" fmla="*/ 1187768 h 2374582"/>
              <a:gd name="connsiteX77" fmla="*/ 1701165 w 2375535"/>
              <a:gd name="connsiteY77" fmla="*/ 1246823 h 2374582"/>
              <a:gd name="connsiteX78" fmla="*/ 1634490 w 2375535"/>
              <a:gd name="connsiteY78" fmla="*/ 168593 h 2374582"/>
              <a:gd name="connsiteX79" fmla="*/ 1878330 w 2375535"/>
              <a:gd name="connsiteY79" fmla="*/ 412432 h 2374582"/>
              <a:gd name="connsiteX80" fmla="*/ 1515428 w 2375535"/>
              <a:gd name="connsiteY80" fmla="*/ 775335 h 2374582"/>
              <a:gd name="connsiteX81" fmla="*/ 1331595 w 2375535"/>
              <a:gd name="connsiteY81" fmla="*/ 589598 h 2374582"/>
              <a:gd name="connsiteX82" fmla="*/ 1331595 w 2375535"/>
              <a:gd name="connsiteY82" fmla="*/ 589598 h 2374582"/>
              <a:gd name="connsiteX83" fmla="*/ 1272540 w 2375535"/>
              <a:gd name="connsiteY83" fmla="*/ 530543 h 2374582"/>
              <a:gd name="connsiteX84" fmla="*/ 1634490 w 2375535"/>
              <a:gd name="connsiteY84" fmla="*/ 168593 h 2374582"/>
              <a:gd name="connsiteX85" fmla="*/ 741045 w 2375535"/>
              <a:gd name="connsiteY85" fmla="*/ 168593 h 2374582"/>
              <a:gd name="connsiteX86" fmla="*/ 1103948 w 2375535"/>
              <a:gd name="connsiteY86" fmla="*/ 530543 h 2374582"/>
              <a:gd name="connsiteX87" fmla="*/ 1044893 w 2375535"/>
              <a:gd name="connsiteY87" fmla="*/ 589598 h 2374582"/>
              <a:gd name="connsiteX88" fmla="*/ 1044893 w 2375535"/>
              <a:gd name="connsiteY88" fmla="*/ 589598 h 2374582"/>
              <a:gd name="connsiteX89" fmla="*/ 859155 w 2375535"/>
              <a:gd name="connsiteY89" fmla="*/ 774383 h 2374582"/>
              <a:gd name="connsiteX90" fmla="*/ 497205 w 2375535"/>
              <a:gd name="connsiteY90" fmla="*/ 412432 h 2374582"/>
              <a:gd name="connsiteX91" fmla="*/ 741045 w 2375535"/>
              <a:gd name="connsiteY91" fmla="*/ 168593 h 2374582"/>
              <a:gd name="connsiteX92" fmla="*/ 168593 w 2375535"/>
              <a:gd name="connsiteY92" fmla="*/ 741045 h 2374582"/>
              <a:gd name="connsiteX93" fmla="*/ 412433 w 2375535"/>
              <a:gd name="connsiteY93" fmla="*/ 497205 h 2374582"/>
              <a:gd name="connsiteX94" fmla="*/ 775335 w 2375535"/>
              <a:gd name="connsiteY94" fmla="*/ 860108 h 2374582"/>
              <a:gd name="connsiteX95" fmla="*/ 531495 w 2375535"/>
              <a:gd name="connsiteY95" fmla="*/ 1102995 h 2374582"/>
              <a:gd name="connsiteX96" fmla="*/ 168593 w 2375535"/>
              <a:gd name="connsiteY96" fmla="*/ 741045 h 2374582"/>
              <a:gd name="connsiteX97" fmla="*/ 168593 w 2375535"/>
              <a:gd name="connsiteY97" fmla="*/ 1633538 h 2374582"/>
              <a:gd name="connsiteX98" fmla="*/ 531495 w 2375535"/>
              <a:gd name="connsiteY98" fmla="*/ 1271588 h 2374582"/>
              <a:gd name="connsiteX99" fmla="*/ 775335 w 2375535"/>
              <a:gd name="connsiteY99" fmla="*/ 1515428 h 2374582"/>
              <a:gd name="connsiteX100" fmla="*/ 412433 w 2375535"/>
              <a:gd name="connsiteY100" fmla="*/ 1878330 h 2374582"/>
              <a:gd name="connsiteX101" fmla="*/ 168593 w 2375535"/>
              <a:gd name="connsiteY101" fmla="*/ 1633538 h 2374582"/>
              <a:gd name="connsiteX102" fmla="*/ 741045 w 2375535"/>
              <a:gd name="connsiteY102" fmla="*/ 2205990 h 2374582"/>
              <a:gd name="connsiteX103" fmla="*/ 497205 w 2375535"/>
              <a:gd name="connsiteY103" fmla="*/ 1962150 h 2374582"/>
              <a:gd name="connsiteX104" fmla="*/ 860108 w 2375535"/>
              <a:gd name="connsiteY104" fmla="*/ 1599248 h 2374582"/>
              <a:gd name="connsiteX105" fmla="*/ 1044893 w 2375535"/>
              <a:gd name="connsiteY105" fmla="*/ 1784033 h 2374582"/>
              <a:gd name="connsiteX106" fmla="*/ 1044893 w 2375535"/>
              <a:gd name="connsiteY106" fmla="*/ 1784033 h 2374582"/>
              <a:gd name="connsiteX107" fmla="*/ 1103948 w 2375535"/>
              <a:gd name="connsiteY107" fmla="*/ 1843088 h 2374582"/>
              <a:gd name="connsiteX108" fmla="*/ 741045 w 2375535"/>
              <a:gd name="connsiteY108" fmla="*/ 2205990 h 2374582"/>
              <a:gd name="connsiteX109" fmla="*/ 1634490 w 2375535"/>
              <a:gd name="connsiteY109" fmla="*/ 2205990 h 2374582"/>
              <a:gd name="connsiteX110" fmla="*/ 1271588 w 2375535"/>
              <a:gd name="connsiteY110" fmla="*/ 1843088 h 2374582"/>
              <a:gd name="connsiteX111" fmla="*/ 1330643 w 2375535"/>
              <a:gd name="connsiteY111" fmla="*/ 1784033 h 2374582"/>
              <a:gd name="connsiteX112" fmla="*/ 1330643 w 2375535"/>
              <a:gd name="connsiteY112" fmla="*/ 1784033 h 2374582"/>
              <a:gd name="connsiteX113" fmla="*/ 1515428 w 2375535"/>
              <a:gd name="connsiteY113" fmla="*/ 1599248 h 2374582"/>
              <a:gd name="connsiteX114" fmla="*/ 1878330 w 2375535"/>
              <a:gd name="connsiteY114" fmla="*/ 1962150 h 2374582"/>
              <a:gd name="connsiteX115" fmla="*/ 1634490 w 2375535"/>
              <a:gd name="connsiteY115" fmla="*/ 2205990 h 2374582"/>
              <a:gd name="connsiteX116" fmla="*/ 2206943 w 2375535"/>
              <a:gd name="connsiteY116" fmla="*/ 1633538 h 2374582"/>
              <a:gd name="connsiteX117" fmla="*/ 1963103 w 2375535"/>
              <a:gd name="connsiteY117" fmla="*/ 1877378 h 2374582"/>
              <a:gd name="connsiteX118" fmla="*/ 1600200 w 2375535"/>
              <a:gd name="connsiteY118" fmla="*/ 1514475 h 2374582"/>
              <a:gd name="connsiteX119" fmla="*/ 1844040 w 2375535"/>
              <a:gd name="connsiteY119" fmla="*/ 1270635 h 2374582"/>
              <a:gd name="connsiteX120" fmla="*/ 2206943 w 2375535"/>
              <a:gd name="connsiteY120" fmla="*/ 1633538 h 237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75535" h="2374582">
                <a:moveTo>
                  <a:pt x="2375535" y="741045"/>
                </a:moveTo>
                <a:lnTo>
                  <a:pt x="1634490" y="0"/>
                </a:lnTo>
                <a:lnTo>
                  <a:pt x="1187768" y="446723"/>
                </a:lnTo>
                <a:lnTo>
                  <a:pt x="741045" y="0"/>
                </a:lnTo>
                <a:lnTo>
                  <a:pt x="0" y="741045"/>
                </a:lnTo>
                <a:lnTo>
                  <a:pt x="446723" y="1187768"/>
                </a:lnTo>
                <a:lnTo>
                  <a:pt x="0" y="1633538"/>
                </a:lnTo>
                <a:lnTo>
                  <a:pt x="741045" y="2374583"/>
                </a:lnTo>
                <a:lnTo>
                  <a:pt x="1187768" y="1927860"/>
                </a:lnTo>
                <a:lnTo>
                  <a:pt x="1634490" y="2374583"/>
                </a:lnTo>
                <a:lnTo>
                  <a:pt x="2375535" y="1633538"/>
                </a:lnTo>
                <a:lnTo>
                  <a:pt x="1928813" y="1186815"/>
                </a:lnTo>
                <a:lnTo>
                  <a:pt x="2375535" y="741045"/>
                </a:lnTo>
                <a:close/>
                <a:moveTo>
                  <a:pt x="2206943" y="741045"/>
                </a:moveTo>
                <a:lnTo>
                  <a:pt x="1844040" y="1103948"/>
                </a:lnTo>
                <a:lnTo>
                  <a:pt x="1600200" y="860108"/>
                </a:lnTo>
                <a:lnTo>
                  <a:pt x="1963103" y="497205"/>
                </a:lnTo>
                <a:lnTo>
                  <a:pt x="2206943" y="741045"/>
                </a:lnTo>
                <a:close/>
                <a:moveTo>
                  <a:pt x="1616393" y="1043940"/>
                </a:moveTo>
                <a:lnTo>
                  <a:pt x="1557338" y="1102995"/>
                </a:lnTo>
                <a:lnTo>
                  <a:pt x="1271588" y="817245"/>
                </a:lnTo>
                <a:lnTo>
                  <a:pt x="1330643" y="758190"/>
                </a:lnTo>
                <a:lnTo>
                  <a:pt x="1616393" y="1043940"/>
                </a:lnTo>
                <a:close/>
                <a:moveTo>
                  <a:pt x="1187768" y="1102995"/>
                </a:moveTo>
                <a:lnTo>
                  <a:pt x="1086803" y="1002030"/>
                </a:lnTo>
                <a:lnTo>
                  <a:pt x="1187768" y="902018"/>
                </a:lnTo>
                <a:lnTo>
                  <a:pt x="1288733" y="1002983"/>
                </a:lnTo>
                <a:lnTo>
                  <a:pt x="1187768" y="1102995"/>
                </a:lnTo>
                <a:close/>
                <a:moveTo>
                  <a:pt x="1002983" y="1086803"/>
                </a:moveTo>
                <a:lnTo>
                  <a:pt x="1103948" y="1187768"/>
                </a:lnTo>
                <a:lnTo>
                  <a:pt x="1002983" y="1288733"/>
                </a:lnTo>
                <a:lnTo>
                  <a:pt x="902018" y="1187768"/>
                </a:lnTo>
                <a:lnTo>
                  <a:pt x="1002983" y="1086803"/>
                </a:lnTo>
                <a:close/>
                <a:moveTo>
                  <a:pt x="1187768" y="1271588"/>
                </a:moveTo>
                <a:lnTo>
                  <a:pt x="1288733" y="1372553"/>
                </a:lnTo>
                <a:lnTo>
                  <a:pt x="1187768" y="1473518"/>
                </a:lnTo>
                <a:lnTo>
                  <a:pt x="1086803" y="1372553"/>
                </a:lnTo>
                <a:lnTo>
                  <a:pt x="1187768" y="1271588"/>
                </a:lnTo>
                <a:close/>
                <a:moveTo>
                  <a:pt x="1372553" y="1287780"/>
                </a:moveTo>
                <a:lnTo>
                  <a:pt x="1271588" y="1186815"/>
                </a:lnTo>
                <a:lnTo>
                  <a:pt x="1372553" y="1085850"/>
                </a:lnTo>
                <a:lnTo>
                  <a:pt x="1473518" y="1186815"/>
                </a:lnTo>
                <a:lnTo>
                  <a:pt x="1372553" y="1287780"/>
                </a:lnTo>
                <a:close/>
                <a:moveTo>
                  <a:pt x="1187768" y="733425"/>
                </a:moveTo>
                <a:lnTo>
                  <a:pt x="1128713" y="674370"/>
                </a:lnTo>
                <a:lnTo>
                  <a:pt x="1187768" y="615315"/>
                </a:lnTo>
                <a:lnTo>
                  <a:pt x="1246823" y="674370"/>
                </a:lnTo>
                <a:lnTo>
                  <a:pt x="1187768" y="733425"/>
                </a:lnTo>
                <a:close/>
                <a:moveTo>
                  <a:pt x="1103948" y="817245"/>
                </a:moveTo>
                <a:lnTo>
                  <a:pt x="818198" y="1102995"/>
                </a:lnTo>
                <a:lnTo>
                  <a:pt x="759143" y="1043940"/>
                </a:lnTo>
                <a:lnTo>
                  <a:pt x="1044893" y="758190"/>
                </a:lnTo>
                <a:lnTo>
                  <a:pt x="1103948" y="817245"/>
                </a:lnTo>
                <a:close/>
                <a:moveTo>
                  <a:pt x="674370" y="1127760"/>
                </a:moveTo>
                <a:lnTo>
                  <a:pt x="733425" y="1186815"/>
                </a:lnTo>
                <a:lnTo>
                  <a:pt x="674370" y="1245870"/>
                </a:lnTo>
                <a:lnTo>
                  <a:pt x="615315" y="1186815"/>
                </a:lnTo>
                <a:lnTo>
                  <a:pt x="674370" y="1127760"/>
                </a:lnTo>
                <a:close/>
                <a:moveTo>
                  <a:pt x="759143" y="1330643"/>
                </a:moveTo>
                <a:lnTo>
                  <a:pt x="818198" y="1271588"/>
                </a:lnTo>
                <a:lnTo>
                  <a:pt x="1103948" y="1557338"/>
                </a:lnTo>
                <a:lnTo>
                  <a:pt x="1044893" y="1616393"/>
                </a:lnTo>
                <a:lnTo>
                  <a:pt x="759143" y="1330643"/>
                </a:lnTo>
                <a:close/>
                <a:moveTo>
                  <a:pt x="1187768" y="1641158"/>
                </a:moveTo>
                <a:lnTo>
                  <a:pt x="1246823" y="1700213"/>
                </a:lnTo>
                <a:lnTo>
                  <a:pt x="1187768" y="1759268"/>
                </a:lnTo>
                <a:lnTo>
                  <a:pt x="1128713" y="1700213"/>
                </a:lnTo>
                <a:lnTo>
                  <a:pt x="1187768" y="1641158"/>
                </a:lnTo>
                <a:close/>
                <a:moveTo>
                  <a:pt x="1271588" y="1556385"/>
                </a:moveTo>
                <a:lnTo>
                  <a:pt x="1557338" y="1270635"/>
                </a:lnTo>
                <a:lnTo>
                  <a:pt x="1616393" y="1329690"/>
                </a:lnTo>
                <a:lnTo>
                  <a:pt x="1330643" y="1615440"/>
                </a:lnTo>
                <a:lnTo>
                  <a:pt x="1271588" y="1556385"/>
                </a:lnTo>
                <a:close/>
                <a:moveTo>
                  <a:pt x="1701165" y="1246823"/>
                </a:moveTo>
                <a:lnTo>
                  <a:pt x="1642110" y="1187768"/>
                </a:lnTo>
                <a:lnTo>
                  <a:pt x="1701165" y="1128713"/>
                </a:lnTo>
                <a:lnTo>
                  <a:pt x="1760220" y="1187768"/>
                </a:lnTo>
                <a:lnTo>
                  <a:pt x="1701165" y="1246823"/>
                </a:lnTo>
                <a:close/>
                <a:moveTo>
                  <a:pt x="1634490" y="168593"/>
                </a:moveTo>
                <a:lnTo>
                  <a:pt x="1878330" y="412432"/>
                </a:lnTo>
                <a:lnTo>
                  <a:pt x="1515428" y="775335"/>
                </a:lnTo>
                <a:lnTo>
                  <a:pt x="1331595" y="589598"/>
                </a:lnTo>
                <a:lnTo>
                  <a:pt x="1331595" y="589598"/>
                </a:lnTo>
                <a:lnTo>
                  <a:pt x="1272540" y="530543"/>
                </a:lnTo>
                <a:lnTo>
                  <a:pt x="1634490" y="168593"/>
                </a:lnTo>
                <a:close/>
                <a:moveTo>
                  <a:pt x="741045" y="168593"/>
                </a:moveTo>
                <a:lnTo>
                  <a:pt x="1103948" y="530543"/>
                </a:lnTo>
                <a:lnTo>
                  <a:pt x="1044893" y="589598"/>
                </a:lnTo>
                <a:lnTo>
                  <a:pt x="1044893" y="589598"/>
                </a:lnTo>
                <a:lnTo>
                  <a:pt x="859155" y="774383"/>
                </a:lnTo>
                <a:lnTo>
                  <a:pt x="497205" y="412432"/>
                </a:lnTo>
                <a:lnTo>
                  <a:pt x="741045" y="168593"/>
                </a:lnTo>
                <a:close/>
                <a:moveTo>
                  <a:pt x="168593" y="741045"/>
                </a:moveTo>
                <a:lnTo>
                  <a:pt x="412433" y="497205"/>
                </a:lnTo>
                <a:lnTo>
                  <a:pt x="775335" y="860108"/>
                </a:lnTo>
                <a:lnTo>
                  <a:pt x="531495" y="1102995"/>
                </a:lnTo>
                <a:lnTo>
                  <a:pt x="168593" y="741045"/>
                </a:lnTo>
                <a:close/>
                <a:moveTo>
                  <a:pt x="168593" y="1633538"/>
                </a:moveTo>
                <a:lnTo>
                  <a:pt x="531495" y="1271588"/>
                </a:lnTo>
                <a:lnTo>
                  <a:pt x="775335" y="1515428"/>
                </a:lnTo>
                <a:lnTo>
                  <a:pt x="412433" y="1878330"/>
                </a:lnTo>
                <a:lnTo>
                  <a:pt x="168593" y="1633538"/>
                </a:lnTo>
                <a:close/>
                <a:moveTo>
                  <a:pt x="741045" y="2205990"/>
                </a:moveTo>
                <a:lnTo>
                  <a:pt x="497205" y="1962150"/>
                </a:lnTo>
                <a:lnTo>
                  <a:pt x="860108" y="1599248"/>
                </a:lnTo>
                <a:lnTo>
                  <a:pt x="1044893" y="1784033"/>
                </a:lnTo>
                <a:lnTo>
                  <a:pt x="1044893" y="1784033"/>
                </a:lnTo>
                <a:lnTo>
                  <a:pt x="1103948" y="1843088"/>
                </a:lnTo>
                <a:lnTo>
                  <a:pt x="741045" y="2205990"/>
                </a:lnTo>
                <a:close/>
                <a:moveTo>
                  <a:pt x="1634490" y="2205990"/>
                </a:moveTo>
                <a:lnTo>
                  <a:pt x="1271588" y="1843088"/>
                </a:lnTo>
                <a:lnTo>
                  <a:pt x="1330643" y="1784033"/>
                </a:lnTo>
                <a:lnTo>
                  <a:pt x="1330643" y="1784033"/>
                </a:lnTo>
                <a:lnTo>
                  <a:pt x="1515428" y="1599248"/>
                </a:lnTo>
                <a:lnTo>
                  <a:pt x="1878330" y="1962150"/>
                </a:lnTo>
                <a:lnTo>
                  <a:pt x="1634490" y="2205990"/>
                </a:lnTo>
                <a:close/>
                <a:moveTo>
                  <a:pt x="2206943" y="1633538"/>
                </a:moveTo>
                <a:lnTo>
                  <a:pt x="1963103" y="1877378"/>
                </a:lnTo>
                <a:lnTo>
                  <a:pt x="1600200" y="1514475"/>
                </a:lnTo>
                <a:lnTo>
                  <a:pt x="1844040" y="1270635"/>
                </a:lnTo>
                <a:lnTo>
                  <a:pt x="2206943" y="1633538"/>
                </a:lnTo>
                <a:close/>
              </a:path>
            </a:pathLst>
          </a:custGeom>
          <a:gradFill>
            <a:gsLst>
              <a:gs pos="0">
                <a:schemeClr val="accent6">
                  <a:alpha val="15000"/>
                </a:schemeClr>
              </a:gs>
              <a:gs pos="100000">
                <a:schemeClr val="accent3">
                  <a:alpha val="15000"/>
                </a:schemeClr>
              </a:gs>
            </a:gsLst>
            <a:lin ang="13800000" scaled="0"/>
          </a:gradFill>
          <a:ln w="9525" cap="flat">
            <a:noFill/>
            <a:prstDash val="solid"/>
            <a:miter/>
          </a:ln>
        </p:spPr>
        <p:txBody>
          <a:bodyPr rtlCol="0" anchor="ctr"/>
          <a:lstStyle/>
          <a:p>
            <a:endParaRPr lang="en-US">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7" name="Graphic 4">
            <a:extLst>
              <a:ext uri="{FF2B5EF4-FFF2-40B4-BE49-F238E27FC236}">
                <a16:creationId xmlns:a16="http://schemas.microsoft.com/office/drawing/2014/main" id="{D931F874-6C1D-71C2-E93A-F64319C40171}"/>
              </a:ext>
            </a:extLst>
          </p:cNvPr>
          <p:cNvSpPr/>
          <p:nvPr/>
        </p:nvSpPr>
        <p:spPr>
          <a:xfrm>
            <a:off x="6776576" y="1066800"/>
            <a:ext cx="4855888" cy="4853940"/>
          </a:xfrm>
          <a:custGeom>
            <a:avLst/>
            <a:gdLst>
              <a:gd name="connsiteX0" fmla="*/ 2375535 w 2375535"/>
              <a:gd name="connsiteY0" fmla="*/ 741045 h 2374582"/>
              <a:gd name="connsiteX1" fmla="*/ 1634490 w 2375535"/>
              <a:gd name="connsiteY1" fmla="*/ 0 h 2374582"/>
              <a:gd name="connsiteX2" fmla="*/ 1187768 w 2375535"/>
              <a:gd name="connsiteY2" fmla="*/ 446723 h 2374582"/>
              <a:gd name="connsiteX3" fmla="*/ 741045 w 2375535"/>
              <a:gd name="connsiteY3" fmla="*/ 0 h 2374582"/>
              <a:gd name="connsiteX4" fmla="*/ 0 w 2375535"/>
              <a:gd name="connsiteY4" fmla="*/ 741045 h 2374582"/>
              <a:gd name="connsiteX5" fmla="*/ 446723 w 2375535"/>
              <a:gd name="connsiteY5" fmla="*/ 1187768 h 2374582"/>
              <a:gd name="connsiteX6" fmla="*/ 0 w 2375535"/>
              <a:gd name="connsiteY6" fmla="*/ 1633538 h 2374582"/>
              <a:gd name="connsiteX7" fmla="*/ 741045 w 2375535"/>
              <a:gd name="connsiteY7" fmla="*/ 2374583 h 2374582"/>
              <a:gd name="connsiteX8" fmla="*/ 1187768 w 2375535"/>
              <a:gd name="connsiteY8" fmla="*/ 1927860 h 2374582"/>
              <a:gd name="connsiteX9" fmla="*/ 1634490 w 2375535"/>
              <a:gd name="connsiteY9" fmla="*/ 2374583 h 2374582"/>
              <a:gd name="connsiteX10" fmla="*/ 2375535 w 2375535"/>
              <a:gd name="connsiteY10" fmla="*/ 1633538 h 2374582"/>
              <a:gd name="connsiteX11" fmla="*/ 1928813 w 2375535"/>
              <a:gd name="connsiteY11" fmla="*/ 1186815 h 2374582"/>
              <a:gd name="connsiteX12" fmla="*/ 2375535 w 2375535"/>
              <a:gd name="connsiteY12" fmla="*/ 741045 h 2374582"/>
              <a:gd name="connsiteX13" fmla="*/ 2206943 w 2375535"/>
              <a:gd name="connsiteY13" fmla="*/ 741045 h 2374582"/>
              <a:gd name="connsiteX14" fmla="*/ 1844040 w 2375535"/>
              <a:gd name="connsiteY14" fmla="*/ 1103948 h 2374582"/>
              <a:gd name="connsiteX15" fmla="*/ 1600200 w 2375535"/>
              <a:gd name="connsiteY15" fmla="*/ 860108 h 2374582"/>
              <a:gd name="connsiteX16" fmla="*/ 1963103 w 2375535"/>
              <a:gd name="connsiteY16" fmla="*/ 497205 h 2374582"/>
              <a:gd name="connsiteX17" fmla="*/ 2206943 w 2375535"/>
              <a:gd name="connsiteY17" fmla="*/ 741045 h 2374582"/>
              <a:gd name="connsiteX18" fmla="*/ 1616393 w 2375535"/>
              <a:gd name="connsiteY18" fmla="*/ 1043940 h 2374582"/>
              <a:gd name="connsiteX19" fmla="*/ 1557338 w 2375535"/>
              <a:gd name="connsiteY19" fmla="*/ 1102995 h 2374582"/>
              <a:gd name="connsiteX20" fmla="*/ 1271588 w 2375535"/>
              <a:gd name="connsiteY20" fmla="*/ 817245 h 2374582"/>
              <a:gd name="connsiteX21" fmla="*/ 1330643 w 2375535"/>
              <a:gd name="connsiteY21" fmla="*/ 758190 h 2374582"/>
              <a:gd name="connsiteX22" fmla="*/ 1616393 w 2375535"/>
              <a:gd name="connsiteY22" fmla="*/ 1043940 h 2374582"/>
              <a:gd name="connsiteX23" fmla="*/ 1187768 w 2375535"/>
              <a:gd name="connsiteY23" fmla="*/ 1102995 h 2374582"/>
              <a:gd name="connsiteX24" fmla="*/ 1086803 w 2375535"/>
              <a:gd name="connsiteY24" fmla="*/ 1002030 h 2374582"/>
              <a:gd name="connsiteX25" fmla="*/ 1187768 w 2375535"/>
              <a:gd name="connsiteY25" fmla="*/ 902018 h 2374582"/>
              <a:gd name="connsiteX26" fmla="*/ 1288733 w 2375535"/>
              <a:gd name="connsiteY26" fmla="*/ 1002983 h 2374582"/>
              <a:gd name="connsiteX27" fmla="*/ 1187768 w 2375535"/>
              <a:gd name="connsiteY27" fmla="*/ 1102995 h 2374582"/>
              <a:gd name="connsiteX28" fmla="*/ 1002983 w 2375535"/>
              <a:gd name="connsiteY28" fmla="*/ 1086803 h 2374582"/>
              <a:gd name="connsiteX29" fmla="*/ 1103948 w 2375535"/>
              <a:gd name="connsiteY29" fmla="*/ 1187768 h 2374582"/>
              <a:gd name="connsiteX30" fmla="*/ 1002983 w 2375535"/>
              <a:gd name="connsiteY30" fmla="*/ 1288733 h 2374582"/>
              <a:gd name="connsiteX31" fmla="*/ 902018 w 2375535"/>
              <a:gd name="connsiteY31" fmla="*/ 1187768 h 2374582"/>
              <a:gd name="connsiteX32" fmla="*/ 1002983 w 2375535"/>
              <a:gd name="connsiteY32" fmla="*/ 1086803 h 2374582"/>
              <a:gd name="connsiteX33" fmla="*/ 1187768 w 2375535"/>
              <a:gd name="connsiteY33" fmla="*/ 1271588 h 2374582"/>
              <a:gd name="connsiteX34" fmla="*/ 1288733 w 2375535"/>
              <a:gd name="connsiteY34" fmla="*/ 1372553 h 2374582"/>
              <a:gd name="connsiteX35" fmla="*/ 1187768 w 2375535"/>
              <a:gd name="connsiteY35" fmla="*/ 1473518 h 2374582"/>
              <a:gd name="connsiteX36" fmla="*/ 1086803 w 2375535"/>
              <a:gd name="connsiteY36" fmla="*/ 1372553 h 2374582"/>
              <a:gd name="connsiteX37" fmla="*/ 1187768 w 2375535"/>
              <a:gd name="connsiteY37" fmla="*/ 1271588 h 2374582"/>
              <a:gd name="connsiteX38" fmla="*/ 1372553 w 2375535"/>
              <a:gd name="connsiteY38" fmla="*/ 1287780 h 2374582"/>
              <a:gd name="connsiteX39" fmla="*/ 1271588 w 2375535"/>
              <a:gd name="connsiteY39" fmla="*/ 1186815 h 2374582"/>
              <a:gd name="connsiteX40" fmla="*/ 1372553 w 2375535"/>
              <a:gd name="connsiteY40" fmla="*/ 1085850 h 2374582"/>
              <a:gd name="connsiteX41" fmla="*/ 1473518 w 2375535"/>
              <a:gd name="connsiteY41" fmla="*/ 1186815 h 2374582"/>
              <a:gd name="connsiteX42" fmla="*/ 1372553 w 2375535"/>
              <a:gd name="connsiteY42" fmla="*/ 1287780 h 2374582"/>
              <a:gd name="connsiteX43" fmla="*/ 1187768 w 2375535"/>
              <a:gd name="connsiteY43" fmla="*/ 733425 h 2374582"/>
              <a:gd name="connsiteX44" fmla="*/ 1128713 w 2375535"/>
              <a:gd name="connsiteY44" fmla="*/ 674370 h 2374582"/>
              <a:gd name="connsiteX45" fmla="*/ 1187768 w 2375535"/>
              <a:gd name="connsiteY45" fmla="*/ 615315 h 2374582"/>
              <a:gd name="connsiteX46" fmla="*/ 1246823 w 2375535"/>
              <a:gd name="connsiteY46" fmla="*/ 674370 h 2374582"/>
              <a:gd name="connsiteX47" fmla="*/ 1187768 w 2375535"/>
              <a:gd name="connsiteY47" fmla="*/ 733425 h 2374582"/>
              <a:gd name="connsiteX48" fmla="*/ 1103948 w 2375535"/>
              <a:gd name="connsiteY48" fmla="*/ 817245 h 2374582"/>
              <a:gd name="connsiteX49" fmla="*/ 818198 w 2375535"/>
              <a:gd name="connsiteY49" fmla="*/ 1102995 h 2374582"/>
              <a:gd name="connsiteX50" fmla="*/ 759143 w 2375535"/>
              <a:gd name="connsiteY50" fmla="*/ 1043940 h 2374582"/>
              <a:gd name="connsiteX51" fmla="*/ 1044893 w 2375535"/>
              <a:gd name="connsiteY51" fmla="*/ 758190 h 2374582"/>
              <a:gd name="connsiteX52" fmla="*/ 1103948 w 2375535"/>
              <a:gd name="connsiteY52" fmla="*/ 817245 h 2374582"/>
              <a:gd name="connsiteX53" fmla="*/ 674370 w 2375535"/>
              <a:gd name="connsiteY53" fmla="*/ 1127760 h 2374582"/>
              <a:gd name="connsiteX54" fmla="*/ 733425 w 2375535"/>
              <a:gd name="connsiteY54" fmla="*/ 1186815 h 2374582"/>
              <a:gd name="connsiteX55" fmla="*/ 674370 w 2375535"/>
              <a:gd name="connsiteY55" fmla="*/ 1245870 h 2374582"/>
              <a:gd name="connsiteX56" fmla="*/ 615315 w 2375535"/>
              <a:gd name="connsiteY56" fmla="*/ 1186815 h 2374582"/>
              <a:gd name="connsiteX57" fmla="*/ 674370 w 2375535"/>
              <a:gd name="connsiteY57" fmla="*/ 1127760 h 2374582"/>
              <a:gd name="connsiteX58" fmla="*/ 759143 w 2375535"/>
              <a:gd name="connsiteY58" fmla="*/ 1330643 h 2374582"/>
              <a:gd name="connsiteX59" fmla="*/ 818198 w 2375535"/>
              <a:gd name="connsiteY59" fmla="*/ 1271588 h 2374582"/>
              <a:gd name="connsiteX60" fmla="*/ 1103948 w 2375535"/>
              <a:gd name="connsiteY60" fmla="*/ 1557338 h 2374582"/>
              <a:gd name="connsiteX61" fmla="*/ 1044893 w 2375535"/>
              <a:gd name="connsiteY61" fmla="*/ 1616393 h 2374582"/>
              <a:gd name="connsiteX62" fmla="*/ 759143 w 2375535"/>
              <a:gd name="connsiteY62" fmla="*/ 1330643 h 2374582"/>
              <a:gd name="connsiteX63" fmla="*/ 1187768 w 2375535"/>
              <a:gd name="connsiteY63" fmla="*/ 1641158 h 2374582"/>
              <a:gd name="connsiteX64" fmla="*/ 1246823 w 2375535"/>
              <a:gd name="connsiteY64" fmla="*/ 1700213 h 2374582"/>
              <a:gd name="connsiteX65" fmla="*/ 1187768 w 2375535"/>
              <a:gd name="connsiteY65" fmla="*/ 1759268 h 2374582"/>
              <a:gd name="connsiteX66" fmla="*/ 1128713 w 2375535"/>
              <a:gd name="connsiteY66" fmla="*/ 1700213 h 2374582"/>
              <a:gd name="connsiteX67" fmla="*/ 1187768 w 2375535"/>
              <a:gd name="connsiteY67" fmla="*/ 1641158 h 2374582"/>
              <a:gd name="connsiteX68" fmla="*/ 1271588 w 2375535"/>
              <a:gd name="connsiteY68" fmla="*/ 1556385 h 2374582"/>
              <a:gd name="connsiteX69" fmla="*/ 1557338 w 2375535"/>
              <a:gd name="connsiteY69" fmla="*/ 1270635 h 2374582"/>
              <a:gd name="connsiteX70" fmla="*/ 1616393 w 2375535"/>
              <a:gd name="connsiteY70" fmla="*/ 1329690 h 2374582"/>
              <a:gd name="connsiteX71" fmla="*/ 1330643 w 2375535"/>
              <a:gd name="connsiteY71" fmla="*/ 1615440 h 2374582"/>
              <a:gd name="connsiteX72" fmla="*/ 1271588 w 2375535"/>
              <a:gd name="connsiteY72" fmla="*/ 1556385 h 2374582"/>
              <a:gd name="connsiteX73" fmla="*/ 1701165 w 2375535"/>
              <a:gd name="connsiteY73" fmla="*/ 1246823 h 2374582"/>
              <a:gd name="connsiteX74" fmla="*/ 1642110 w 2375535"/>
              <a:gd name="connsiteY74" fmla="*/ 1187768 h 2374582"/>
              <a:gd name="connsiteX75" fmla="*/ 1701165 w 2375535"/>
              <a:gd name="connsiteY75" fmla="*/ 1128713 h 2374582"/>
              <a:gd name="connsiteX76" fmla="*/ 1760220 w 2375535"/>
              <a:gd name="connsiteY76" fmla="*/ 1187768 h 2374582"/>
              <a:gd name="connsiteX77" fmla="*/ 1701165 w 2375535"/>
              <a:gd name="connsiteY77" fmla="*/ 1246823 h 2374582"/>
              <a:gd name="connsiteX78" fmla="*/ 1634490 w 2375535"/>
              <a:gd name="connsiteY78" fmla="*/ 168593 h 2374582"/>
              <a:gd name="connsiteX79" fmla="*/ 1878330 w 2375535"/>
              <a:gd name="connsiteY79" fmla="*/ 412432 h 2374582"/>
              <a:gd name="connsiteX80" fmla="*/ 1515428 w 2375535"/>
              <a:gd name="connsiteY80" fmla="*/ 775335 h 2374582"/>
              <a:gd name="connsiteX81" fmla="*/ 1331595 w 2375535"/>
              <a:gd name="connsiteY81" fmla="*/ 589598 h 2374582"/>
              <a:gd name="connsiteX82" fmla="*/ 1331595 w 2375535"/>
              <a:gd name="connsiteY82" fmla="*/ 589598 h 2374582"/>
              <a:gd name="connsiteX83" fmla="*/ 1272540 w 2375535"/>
              <a:gd name="connsiteY83" fmla="*/ 530543 h 2374582"/>
              <a:gd name="connsiteX84" fmla="*/ 1634490 w 2375535"/>
              <a:gd name="connsiteY84" fmla="*/ 168593 h 2374582"/>
              <a:gd name="connsiteX85" fmla="*/ 741045 w 2375535"/>
              <a:gd name="connsiteY85" fmla="*/ 168593 h 2374582"/>
              <a:gd name="connsiteX86" fmla="*/ 1103948 w 2375535"/>
              <a:gd name="connsiteY86" fmla="*/ 530543 h 2374582"/>
              <a:gd name="connsiteX87" fmla="*/ 1044893 w 2375535"/>
              <a:gd name="connsiteY87" fmla="*/ 589598 h 2374582"/>
              <a:gd name="connsiteX88" fmla="*/ 1044893 w 2375535"/>
              <a:gd name="connsiteY88" fmla="*/ 589598 h 2374582"/>
              <a:gd name="connsiteX89" fmla="*/ 859155 w 2375535"/>
              <a:gd name="connsiteY89" fmla="*/ 774383 h 2374582"/>
              <a:gd name="connsiteX90" fmla="*/ 497205 w 2375535"/>
              <a:gd name="connsiteY90" fmla="*/ 412432 h 2374582"/>
              <a:gd name="connsiteX91" fmla="*/ 741045 w 2375535"/>
              <a:gd name="connsiteY91" fmla="*/ 168593 h 2374582"/>
              <a:gd name="connsiteX92" fmla="*/ 168593 w 2375535"/>
              <a:gd name="connsiteY92" fmla="*/ 741045 h 2374582"/>
              <a:gd name="connsiteX93" fmla="*/ 412433 w 2375535"/>
              <a:gd name="connsiteY93" fmla="*/ 497205 h 2374582"/>
              <a:gd name="connsiteX94" fmla="*/ 775335 w 2375535"/>
              <a:gd name="connsiteY94" fmla="*/ 860108 h 2374582"/>
              <a:gd name="connsiteX95" fmla="*/ 531495 w 2375535"/>
              <a:gd name="connsiteY95" fmla="*/ 1102995 h 2374582"/>
              <a:gd name="connsiteX96" fmla="*/ 168593 w 2375535"/>
              <a:gd name="connsiteY96" fmla="*/ 741045 h 2374582"/>
              <a:gd name="connsiteX97" fmla="*/ 168593 w 2375535"/>
              <a:gd name="connsiteY97" fmla="*/ 1633538 h 2374582"/>
              <a:gd name="connsiteX98" fmla="*/ 531495 w 2375535"/>
              <a:gd name="connsiteY98" fmla="*/ 1271588 h 2374582"/>
              <a:gd name="connsiteX99" fmla="*/ 775335 w 2375535"/>
              <a:gd name="connsiteY99" fmla="*/ 1515428 h 2374582"/>
              <a:gd name="connsiteX100" fmla="*/ 412433 w 2375535"/>
              <a:gd name="connsiteY100" fmla="*/ 1878330 h 2374582"/>
              <a:gd name="connsiteX101" fmla="*/ 168593 w 2375535"/>
              <a:gd name="connsiteY101" fmla="*/ 1633538 h 2374582"/>
              <a:gd name="connsiteX102" fmla="*/ 741045 w 2375535"/>
              <a:gd name="connsiteY102" fmla="*/ 2205990 h 2374582"/>
              <a:gd name="connsiteX103" fmla="*/ 497205 w 2375535"/>
              <a:gd name="connsiteY103" fmla="*/ 1962150 h 2374582"/>
              <a:gd name="connsiteX104" fmla="*/ 860108 w 2375535"/>
              <a:gd name="connsiteY104" fmla="*/ 1599248 h 2374582"/>
              <a:gd name="connsiteX105" fmla="*/ 1044893 w 2375535"/>
              <a:gd name="connsiteY105" fmla="*/ 1784033 h 2374582"/>
              <a:gd name="connsiteX106" fmla="*/ 1044893 w 2375535"/>
              <a:gd name="connsiteY106" fmla="*/ 1784033 h 2374582"/>
              <a:gd name="connsiteX107" fmla="*/ 1103948 w 2375535"/>
              <a:gd name="connsiteY107" fmla="*/ 1843088 h 2374582"/>
              <a:gd name="connsiteX108" fmla="*/ 741045 w 2375535"/>
              <a:gd name="connsiteY108" fmla="*/ 2205990 h 2374582"/>
              <a:gd name="connsiteX109" fmla="*/ 1634490 w 2375535"/>
              <a:gd name="connsiteY109" fmla="*/ 2205990 h 2374582"/>
              <a:gd name="connsiteX110" fmla="*/ 1271588 w 2375535"/>
              <a:gd name="connsiteY110" fmla="*/ 1843088 h 2374582"/>
              <a:gd name="connsiteX111" fmla="*/ 1330643 w 2375535"/>
              <a:gd name="connsiteY111" fmla="*/ 1784033 h 2374582"/>
              <a:gd name="connsiteX112" fmla="*/ 1330643 w 2375535"/>
              <a:gd name="connsiteY112" fmla="*/ 1784033 h 2374582"/>
              <a:gd name="connsiteX113" fmla="*/ 1515428 w 2375535"/>
              <a:gd name="connsiteY113" fmla="*/ 1599248 h 2374582"/>
              <a:gd name="connsiteX114" fmla="*/ 1878330 w 2375535"/>
              <a:gd name="connsiteY114" fmla="*/ 1962150 h 2374582"/>
              <a:gd name="connsiteX115" fmla="*/ 1634490 w 2375535"/>
              <a:gd name="connsiteY115" fmla="*/ 2205990 h 2374582"/>
              <a:gd name="connsiteX116" fmla="*/ 2206943 w 2375535"/>
              <a:gd name="connsiteY116" fmla="*/ 1633538 h 2374582"/>
              <a:gd name="connsiteX117" fmla="*/ 1963103 w 2375535"/>
              <a:gd name="connsiteY117" fmla="*/ 1877378 h 2374582"/>
              <a:gd name="connsiteX118" fmla="*/ 1600200 w 2375535"/>
              <a:gd name="connsiteY118" fmla="*/ 1514475 h 2374582"/>
              <a:gd name="connsiteX119" fmla="*/ 1844040 w 2375535"/>
              <a:gd name="connsiteY119" fmla="*/ 1270635 h 2374582"/>
              <a:gd name="connsiteX120" fmla="*/ 2206943 w 2375535"/>
              <a:gd name="connsiteY120" fmla="*/ 1633538 h 237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75535" h="2374582">
                <a:moveTo>
                  <a:pt x="2375535" y="741045"/>
                </a:moveTo>
                <a:lnTo>
                  <a:pt x="1634490" y="0"/>
                </a:lnTo>
                <a:lnTo>
                  <a:pt x="1187768" y="446723"/>
                </a:lnTo>
                <a:lnTo>
                  <a:pt x="741045" y="0"/>
                </a:lnTo>
                <a:lnTo>
                  <a:pt x="0" y="741045"/>
                </a:lnTo>
                <a:lnTo>
                  <a:pt x="446723" y="1187768"/>
                </a:lnTo>
                <a:lnTo>
                  <a:pt x="0" y="1633538"/>
                </a:lnTo>
                <a:lnTo>
                  <a:pt x="741045" y="2374583"/>
                </a:lnTo>
                <a:lnTo>
                  <a:pt x="1187768" y="1927860"/>
                </a:lnTo>
                <a:lnTo>
                  <a:pt x="1634490" y="2374583"/>
                </a:lnTo>
                <a:lnTo>
                  <a:pt x="2375535" y="1633538"/>
                </a:lnTo>
                <a:lnTo>
                  <a:pt x="1928813" y="1186815"/>
                </a:lnTo>
                <a:lnTo>
                  <a:pt x="2375535" y="741045"/>
                </a:lnTo>
                <a:close/>
                <a:moveTo>
                  <a:pt x="2206943" y="741045"/>
                </a:moveTo>
                <a:lnTo>
                  <a:pt x="1844040" y="1103948"/>
                </a:lnTo>
                <a:lnTo>
                  <a:pt x="1600200" y="860108"/>
                </a:lnTo>
                <a:lnTo>
                  <a:pt x="1963103" y="497205"/>
                </a:lnTo>
                <a:lnTo>
                  <a:pt x="2206943" y="741045"/>
                </a:lnTo>
                <a:close/>
                <a:moveTo>
                  <a:pt x="1616393" y="1043940"/>
                </a:moveTo>
                <a:lnTo>
                  <a:pt x="1557338" y="1102995"/>
                </a:lnTo>
                <a:lnTo>
                  <a:pt x="1271588" y="817245"/>
                </a:lnTo>
                <a:lnTo>
                  <a:pt x="1330643" y="758190"/>
                </a:lnTo>
                <a:lnTo>
                  <a:pt x="1616393" y="1043940"/>
                </a:lnTo>
                <a:close/>
                <a:moveTo>
                  <a:pt x="1187768" y="1102995"/>
                </a:moveTo>
                <a:lnTo>
                  <a:pt x="1086803" y="1002030"/>
                </a:lnTo>
                <a:lnTo>
                  <a:pt x="1187768" y="902018"/>
                </a:lnTo>
                <a:lnTo>
                  <a:pt x="1288733" y="1002983"/>
                </a:lnTo>
                <a:lnTo>
                  <a:pt x="1187768" y="1102995"/>
                </a:lnTo>
                <a:close/>
                <a:moveTo>
                  <a:pt x="1002983" y="1086803"/>
                </a:moveTo>
                <a:lnTo>
                  <a:pt x="1103948" y="1187768"/>
                </a:lnTo>
                <a:lnTo>
                  <a:pt x="1002983" y="1288733"/>
                </a:lnTo>
                <a:lnTo>
                  <a:pt x="902018" y="1187768"/>
                </a:lnTo>
                <a:lnTo>
                  <a:pt x="1002983" y="1086803"/>
                </a:lnTo>
                <a:close/>
                <a:moveTo>
                  <a:pt x="1187768" y="1271588"/>
                </a:moveTo>
                <a:lnTo>
                  <a:pt x="1288733" y="1372553"/>
                </a:lnTo>
                <a:lnTo>
                  <a:pt x="1187768" y="1473518"/>
                </a:lnTo>
                <a:lnTo>
                  <a:pt x="1086803" y="1372553"/>
                </a:lnTo>
                <a:lnTo>
                  <a:pt x="1187768" y="1271588"/>
                </a:lnTo>
                <a:close/>
                <a:moveTo>
                  <a:pt x="1372553" y="1287780"/>
                </a:moveTo>
                <a:lnTo>
                  <a:pt x="1271588" y="1186815"/>
                </a:lnTo>
                <a:lnTo>
                  <a:pt x="1372553" y="1085850"/>
                </a:lnTo>
                <a:lnTo>
                  <a:pt x="1473518" y="1186815"/>
                </a:lnTo>
                <a:lnTo>
                  <a:pt x="1372553" y="1287780"/>
                </a:lnTo>
                <a:close/>
                <a:moveTo>
                  <a:pt x="1187768" y="733425"/>
                </a:moveTo>
                <a:lnTo>
                  <a:pt x="1128713" y="674370"/>
                </a:lnTo>
                <a:lnTo>
                  <a:pt x="1187768" y="615315"/>
                </a:lnTo>
                <a:lnTo>
                  <a:pt x="1246823" y="674370"/>
                </a:lnTo>
                <a:lnTo>
                  <a:pt x="1187768" y="733425"/>
                </a:lnTo>
                <a:close/>
                <a:moveTo>
                  <a:pt x="1103948" y="817245"/>
                </a:moveTo>
                <a:lnTo>
                  <a:pt x="818198" y="1102995"/>
                </a:lnTo>
                <a:lnTo>
                  <a:pt x="759143" y="1043940"/>
                </a:lnTo>
                <a:lnTo>
                  <a:pt x="1044893" y="758190"/>
                </a:lnTo>
                <a:lnTo>
                  <a:pt x="1103948" y="817245"/>
                </a:lnTo>
                <a:close/>
                <a:moveTo>
                  <a:pt x="674370" y="1127760"/>
                </a:moveTo>
                <a:lnTo>
                  <a:pt x="733425" y="1186815"/>
                </a:lnTo>
                <a:lnTo>
                  <a:pt x="674370" y="1245870"/>
                </a:lnTo>
                <a:lnTo>
                  <a:pt x="615315" y="1186815"/>
                </a:lnTo>
                <a:lnTo>
                  <a:pt x="674370" y="1127760"/>
                </a:lnTo>
                <a:close/>
                <a:moveTo>
                  <a:pt x="759143" y="1330643"/>
                </a:moveTo>
                <a:lnTo>
                  <a:pt x="818198" y="1271588"/>
                </a:lnTo>
                <a:lnTo>
                  <a:pt x="1103948" y="1557338"/>
                </a:lnTo>
                <a:lnTo>
                  <a:pt x="1044893" y="1616393"/>
                </a:lnTo>
                <a:lnTo>
                  <a:pt x="759143" y="1330643"/>
                </a:lnTo>
                <a:close/>
                <a:moveTo>
                  <a:pt x="1187768" y="1641158"/>
                </a:moveTo>
                <a:lnTo>
                  <a:pt x="1246823" y="1700213"/>
                </a:lnTo>
                <a:lnTo>
                  <a:pt x="1187768" y="1759268"/>
                </a:lnTo>
                <a:lnTo>
                  <a:pt x="1128713" y="1700213"/>
                </a:lnTo>
                <a:lnTo>
                  <a:pt x="1187768" y="1641158"/>
                </a:lnTo>
                <a:close/>
                <a:moveTo>
                  <a:pt x="1271588" y="1556385"/>
                </a:moveTo>
                <a:lnTo>
                  <a:pt x="1557338" y="1270635"/>
                </a:lnTo>
                <a:lnTo>
                  <a:pt x="1616393" y="1329690"/>
                </a:lnTo>
                <a:lnTo>
                  <a:pt x="1330643" y="1615440"/>
                </a:lnTo>
                <a:lnTo>
                  <a:pt x="1271588" y="1556385"/>
                </a:lnTo>
                <a:close/>
                <a:moveTo>
                  <a:pt x="1701165" y="1246823"/>
                </a:moveTo>
                <a:lnTo>
                  <a:pt x="1642110" y="1187768"/>
                </a:lnTo>
                <a:lnTo>
                  <a:pt x="1701165" y="1128713"/>
                </a:lnTo>
                <a:lnTo>
                  <a:pt x="1760220" y="1187768"/>
                </a:lnTo>
                <a:lnTo>
                  <a:pt x="1701165" y="1246823"/>
                </a:lnTo>
                <a:close/>
                <a:moveTo>
                  <a:pt x="1634490" y="168593"/>
                </a:moveTo>
                <a:lnTo>
                  <a:pt x="1878330" y="412432"/>
                </a:lnTo>
                <a:lnTo>
                  <a:pt x="1515428" y="775335"/>
                </a:lnTo>
                <a:lnTo>
                  <a:pt x="1331595" y="589598"/>
                </a:lnTo>
                <a:lnTo>
                  <a:pt x="1331595" y="589598"/>
                </a:lnTo>
                <a:lnTo>
                  <a:pt x="1272540" y="530543"/>
                </a:lnTo>
                <a:lnTo>
                  <a:pt x="1634490" y="168593"/>
                </a:lnTo>
                <a:close/>
                <a:moveTo>
                  <a:pt x="741045" y="168593"/>
                </a:moveTo>
                <a:lnTo>
                  <a:pt x="1103948" y="530543"/>
                </a:lnTo>
                <a:lnTo>
                  <a:pt x="1044893" y="589598"/>
                </a:lnTo>
                <a:lnTo>
                  <a:pt x="1044893" y="589598"/>
                </a:lnTo>
                <a:lnTo>
                  <a:pt x="859155" y="774383"/>
                </a:lnTo>
                <a:lnTo>
                  <a:pt x="497205" y="412432"/>
                </a:lnTo>
                <a:lnTo>
                  <a:pt x="741045" y="168593"/>
                </a:lnTo>
                <a:close/>
                <a:moveTo>
                  <a:pt x="168593" y="741045"/>
                </a:moveTo>
                <a:lnTo>
                  <a:pt x="412433" y="497205"/>
                </a:lnTo>
                <a:lnTo>
                  <a:pt x="775335" y="860108"/>
                </a:lnTo>
                <a:lnTo>
                  <a:pt x="531495" y="1102995"/>
                </a:lnTo>
                <a:lnTo>
                  <a:pt x="168593" y="741045"/>
                </a:lnTo>
                <a:close/>
                <a:moveTo>
                  <a:pt x="168593" y="1633538"/>
                </a:moveTo>
                <a:lnTo>
                  <a:pt x="531495" y="1271588"/>
                </a:lnTo>
                <a:lnTo>
                  <a:pt x="775335" y="1515428"/>
                </a:lnTo>
                <a:lnTo>
                  <a:pt x="412433" y="1878330"/>
                </a:lnTo>
                <a:lnTo>
                  <a:pt x="168593" y="1633538"/>
                </a:lnTo>
                <a:close/>
                <a:moveTo>
                  <a:pt x="741045" y="2205990"/>
                </a:moveTo>
                <a:lnTo>
                  <a:pt x="497205" y="1962150"/>
                </a:lnTo>
                <a:lnTo>
                  <a:pt x="860108" y="1599248"/>
                </a:lnTo>
                <a:lnTo>
                  <a:pt x="1044893" y="1784033"/>
                </a:lnTo>
                <a:lnTo>
                  <a:pt x="1044893" y="1784033"/>
                </a:lnTo>
                <a:lnTo>
                  <a:pt x="1103948" y="1843088"/>
                </a:lnTo>
                <a:lnTo>
                  <a:pt x="741045" y="2205990"/>
                </a:lnTo>
                <a:close/>
                <a:moveTo>
                  <a:pt x="1634490" y="2205990"/>
                </a:moveTo>
                <a:lnTo>
                  <a:pt x="1271588" y="1843088"/>
                </a:lnTo>
                <a:lnTo>
                  <a:pt x="1330643" y="1784033"/>
                </a:lnTo>
                <a:lnTo>
                  <a:pt x="1330643" y="1784033"/>
                </a:lnTo>
                <a:lnTo>
                  <a:pt x="1515428" y="1599248"/>
                </a:lnTo>
                <a:lnTo>
                  <a:pt x="1878330" y="1962150"/>
                </a:lnTo>
                <a:lnTo>
                  <a:pt x="1634490" y="2205990"/>
                </a:lnTo>
                <a:close/>
                <a:moveTo>
                  <a:pt x="2206943" y="1633538"/>
                </a:moveTo>
                <a:lnTo>
                  <a:pt x="1963103" y="1877378"/>
                </a:lnTo>
                <a:lnTo>
                  <a:pt x="1600200" y="1514475"/>
                </a:lnTo>
                <a:lnTo>
                  <a:pt x="1844040" y="1270635"/>
                </a:lnTo>
                <a:lnTo>
                  <a:pt x="2206943" y="1633538"/>
                </a:lnTo>
                <a:close/>
              </a:path>
            </a:pathLst>
          </a:custGeom>
          <a:gradFill>
            <a:gsLst>
              <a:gs pos="0">
                <a:schemeClr val="accent1"/>
              </a:gs>
              <a:gs pos="100000">
                <a:schemeClr val="accent3"/>
              </a:gs>
            </a:gsLst>
            <a:lin ang="2700000" scaled="0"/>
          </a:gradFill>
          <a:ln w="9525" cap="flat">
            <a:noFill/>
            <a:prstDash val="solid"/>
            <a:miter/>
          </a:ln>
        </p:spPr>
        <p:txBody>
          <a:bodyPr rtlCol="0" anchor="ctr"/>
          <a:lstStyle/>
          <a:p>
            <a:endParaRPr lang="en-US">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 name="Graphic 43">
            <a:extLst>
              <a:ext uri="{FF2B5EF4-FFF2-40B4-BE49-F238E27FC236}">
                <a16:creationId xmlns:a16="http://schemas.microsoft.com/office/drawing/2014/main" id="{6263B380-91A6-76D7-E07F-24AD3BEAFE59}"/>
              </a:ext>
            </a:extLst>
          </p:cNvPr>
          <p:cNvSpPr>
            <a:spLocks noChangeAspect="1"/>
          </p:cNvSpPr>
          <p:nvPr userDrawn="1"/>
        </p:nvSpPr>
        <p:spPr>
          <a:xfrm>
            <a:off x="552450" y="1233488"/>
            <a:ext cx="2625598" cy="722244"/>
          </a:xfrm>
          <a:custGeom>
            <a:avLst/>
            <a:gdLst>
              <a:gd name="connsiteX0" fmla="*/ 219924 w 2610377"/>
              <a:gd name="connsiteY0" fmla="*/ 234161 h 717496"/>
              <a:gd name="connsiteX1" fmla="*/ 308677 w 2610377"/>
              <a:gd name="connsiteY1" fmla="*/ 120016 h 717496"/>
              <a:gd name="connsiteX2" fmla="*/ 173590 w 2610377"/>
              <a:gd name="connsiteY2" fmla="*/ 0 h 717496"/>
              <a:gd name="connsiteX3" fmla="*/ 653 w 2610377"/>
              <a:gd name="connsiteY3" fmla="*/ 0 h 717496"/>
              <a:gd name="connsiteX4" fmla="*/ 653 w 2610377"/>
              <a:gd name="connsiteY4" fmla="*/ 404401 h 717496"/>
              <a:gd name="connsiteX5" fmla="*/ 49597 w 2610377"/>
              <a:gd name="connsiteY5" fmla="*/ 404401 h 717496"/>
              <a:gd name="connsiteX6" fmla="*/ 49597 w 2610377"/>
              <a:gd name="connsiteY6" fmla="*/ 240032 h 717496"/>
              <a:gd name="connsiteX7" fmla="*/ 167064 w 2610377"/>
              <a:gd name="connsiteY7" fmla="*/ 240032 h 717496"/>
              <a:gd name="connsiteX8" fmla="*/ 262343 w 2610377"/>
              <a:gd name="connsiteY8" fmla="*/ 404401 h 717496"/>
              <a:gd name="connsiteX9" fmla="*/ 320424 w 2610377"/>
              <a:gd name="connsiteY9" fmla="*/ 404401 h 717496"/>
              <a:gd name="connsiteX10" fmla="*/ 219924 w 2610377"/>
              <a:gd name="connsiteY10" fmla="*/ 234161 h 717496"/>
              <a:gd name="connsiteX11" fmla="*/ 49597 w 2610377"/>
              <a:gd name="connsiteY11" fmla="*/ 196330 h 717496"/>
              <a:gd name="connsiteX12" fmla="*/ 49597 w 2610377"/>
              <a:gd name="connsiteY12" fmla="*/ 45006 h 717496"/>
              <a:gd name="connsiteX13" fmla="*/ 170980 w 2610377"/>
              <a:gd name="connsiteY13" fmla="*/ 45006 h 717496"/>
              <a:gd name="connsiteX14" fmla="*/ 256470 w 2610377"/>
              <a:gd name="connsiteY14" fmla="*/ 120668 h 717496"/>
              <a:gd name="connsiteX15" fmla="*/ 170980 w 2610377"/>
              <a:gd name="connsiteY15" fmla="*/ 196983 h 717496"/>
              <a:gd name="connsiteX16" fmla="*/ 49597 w 2610377"/>
              <a:gd name="connsiteY16" fmla="*/ 196983 h 717496"/>
              <a:gd name="connsiteX17" fmla="*/ 1414825 w 2610377"/>
              <a:gd name="connsiteY17" fmla="*/ 652 h 717496"/>
              <a:gd name="connsiteX18" fmla="*/ 1465075 w 2610377"/>
              <a:gd name="connsiteY18" fmla="*/ 652 h 717496"/>
              <a:gd name="connsiteX19" fmla="*/ 1344997 w 2610377"/>
              <a:gd name="connsiteY19" fmla="*/ 405054 h 717496"/>
              <a:gd name="connsiteX20" fmla="*/ 1273212 w 2610377"/>
              <a:gd name="connsiteY20" fmla="*/ 405054 h 717496"/>
              <a:gd name="connsiteX21" fmla="*/ 1172712 w 2610377"/>
              <a:gd name="connsiteY21" fmla="*/ 75662 h 717496"/>
              <a:gd name="connsiteX22" fmla="*/ 1072213 w 2610377"/>
              <a:gd name="connsiteY22" fmla="*/ 405054 h 717496"/>
              <a:gd name="connsiteX23" fmla="*/ 1000427 w 2610377"/>
              <a:gd name="connsiteY23" fmla="*/ 405054 h 717496"/>
              <a:gd name="connsiteX24" fmla="*/ 880350 w 2610377"/>
              <a:gd name="connsiteY24" fmla="*/ 652 h 717496"/>
              <a:gd name="connsiteX25" fmla="*/ 930600 w 2610377"/>
              <a:gd name="connsiteY25" fmla="*/ 652 h 717496"/>
              <a:gd name="connsiteX26" fmla="*/ 1036973 w 2610377"/>
              <a:gd name="connsiteY26" fmla="*/ 354830 h 717496"/>
              <a:gd name="connsiteX27" fmla="*/ 1146609 w 2610377"/>
              <a:gd name="connsiteY27" fmla="*/ 3914 h 717496"/>
              <a:gd name="connsiteX28" fmla="*/ 1198816 w 2610377"/>
              <a:gd name="connsiteY28" fmla="*/ 3914 h 717496"/>
              <a:gd name="connsiteX29" fmla="*/ 1308452 w 2610377"/>
              <a:gd name="connsiteY29" fmla="*/ 354830 h 717496"/>
              <a:gd name="connsiteX30" fmla="*/ 1414825 w 2610377"/>
              <a:gd name="connsiteY30" fmla="*/ 652 h 717496"/>
              <a:gd name="connsiteX31" fmla="*/ 1621697 w 2610377"/>
              <a:gd name="connsiteY31" fmla="*/ 652 h 717496"/>
              <a:gd name="connsiteX32" fmla="*/ 1670642 w 2610377"/>
              <a:gd name="connsiteY32" fmla="*/ 652 h 717496"/>
              <a:gd name="connsiteX33" fmla="*/ 1670642 w 2610377"/>
              <a:gd name="connsiteY33" fmla="*/ 405054 h 717496"/>
              <a:gd name="connsiteX34" fmla="*/ 1621697 w 2610377"/>
              <a:gd name="connsiteY34" fmla="*/ 405054 h 717496"/>
              <a:gd name="connsiteX35" fmla="*/ 1621697 w 2610377"/>
              <a:gd name="connsiteY35" fmla="*/ 652 h 717496"/>
              <a:gd name="connsiteX36" fmla="*/ 752442 w 2610377"/>
              <a:gd name="connsiteY36" fmla="*/ 405054 h 717496"/>
              <a:gd name="connsiteX37" fmla="*/ 467910 w 2610377"/>
              <a:gd name="connsiteY37" fmla="*/ 405054 h 717496"/>
              <a:gd name="connsiteX38" fmla="*/ 467910 w 2610377"/>
              <a:gd name="connsiteY38" fmla="*/ 652 h 717496"/>
              <a:gd name="connsiteX39" fmla="*/ 745916 w 2610377"/>
              <a:gd name="connsiteY39" fmla="*/ 652 h 717496"/>
              <a:gd name="connsiteX40" fmla="*/ 745916 w 2610377"/>
              <a:gd name="connsiteY40" fmla="*/ 45006 h 717496"/>
              <a:gd name="connsiteX41" fmla="*/ 516855 w 2610377"/>
              <a:gd name="connsiteY41" fmla="*/ 45006 h 717496"/>
              <a:gd name="connsiteX42" fmla="*/ 516855 w 2610377"/>
              <a:gd name="connsiteY42" fmla="*/ 174806 h 717496"/>
              <a:gd name="connsiteX43" fmla="*/ 714591 w 2610377"/>
              <a:gd name="connsiteY43" fmla="*/ 174806 h 717496"/>
              <a:gd name="connsiteX44" fmla="*/ 714591 w 2610377"/>
              <a:gd name="connsiteY44" fmla="*/ 219159 h 717496"/>
              <a:gd name="connsiteX45" fmla="*/ 516855 w 2610377"/>
              <a:gd name="connsiteY45" fmla="*/ 219159 h 717496"/>
              <a:gd name="connsiteX46" fmla="*/ 516855 w 2610377"/>
              <a:gd name="connsiteY46" fmla="*/ 360048 h 717496"/>
              <a:gd name="connsiteX47" fmla="*/ 752442 w 2610377"/>
              <a:gd name="connsiteY47" fmla="*/ 360048 h 717496"/>
              <a:gd name="connsiteX48" fmla="*/ 752442 w 2610377"/>
              <a:gd name="connsiteY48" fmla="*/ 405054 h 717496"/>
              <a:gd name="connsiteX49" fmla="*/ 2077861 w 2610377"/>
              <a:gd name="connsiteY49" fmla="*/ 234161 h 717496"/>
              <a:gd name="connsiteX50" fmla="*/ 2166614 w 2610377"/>
              <a:gd name="connsiteY50" fmla="*/ 120016 h 717496"/>
              <a:gd name="connsiteX51" fmla="*/ 2031527 w 2610377"/>
              <a:gd name="connsiteY51" fmla="*/ 0 h 717496"/>
              <a:gd name="connsiteX52" fmla="*/ 1858589 w 2610377"/>
              <a:gd name="connsiteY52" fmla="*/ 0 h 717496"/>
              <a:gd name="connsiteX53" fmla="*/ 1858589 w 2610377"/>
              <a:gd name="connsiteY53" fmla="*/ 404401 h 717496"/>
              <a:gd name="connsiteX54" fmla="*/ 1907534 w 2610377"/>
              <a:gd name="connsiteY54" fmla="*/ 404401 h 717496"/>
              <a:gd name="connsiteX55" fmla="*/ 1907534 w 2610377"/>
              <a:gd name="connsiteY55" fmla="*/ 240032 h 717496"/>
              <a:gd name="connsiteX56" fmla="*/ 2025001 w 2610377"/>
              <a:gd name="connsiteY56" fmla="*/ 240032 h 717496"/>
              <a:gd name="connsiteX57" fmla="*/ 2120280 w 2610377"/>
              <a:gd name="connsiteY57" fmla="*/ 404401 h 717496"/>
              <a:gd name="connsiteX58" fmla="*/ 2178360 w 2610377"/>
              <a:gd name="connsiteY58" fmla="*/ 404401 h 717496"/>
              <a:gd name="connsiteX59" fmla="*/ 2077861 w 2610377"/>
              <a:gd name="connsiteY59" fmla="*/ 234161 h 717496"/>
              <a:gd name="connsiteX60" fmla="*/ 1907534 w 2610377"/>
              <a:gd name="connsiteY60" fmla="*/ 196330 h 717496"/>
              <a:gd name="connsiteX61" fmla="*/ 1907534 w 2610377"/>
              <a:gd name="connsiteY61" fmla="*/ 45006 h 717496"/>
              <a:gd name="connsiteX62" fmla="*/ 2029569 w 2610377"/>
              <a:gd name="connsiteY62" fmla="*/ 45006 h 717496"/>
              <a:gd name="connsiteX63" fmla="*/ 2115059 w 2610377"/>
              <a:gd name="connsiteY63" fmla="*/ 120668 h 717496"/>
              <a:gd name="connsiteX64" fmla="*/ 2029569 w 2610377"/>
              <a:gd name="connsiteY64" fmla="*/ 196983 h 717496"/>
              <a:gd name="connsiteX65" fmla="*/ 1907534 w 2610377"/>
              <a:gd name="connsiteY65" fmla="*/ 196983 h 717496"/>
              <a:gd name="connsiteX66" fmla="*/ 2610378 w 2610377"/>
              <a:gd name="connsiteY66" fmla="*/ 652 h 717496"/>
              <a:gd name="connsiteX67" fmla="*/ 2610378 w 2610377"/>
              <a:gd name="connsiteY67" fmla="*/ 405054 h 717496"/>
              <a:gd name="connsiteX68" fmla="*/ 2325847 w 2610377"/>
              <a:gd name="connsiteY68" fmla="*/ 405054 h 717496"/>
              <a:gd name="connsiteX69" fmla="*/ 2325847 w 2610377"/>
              <a:gd name="connsiteY69" fmla="*/ 360700 h 717496"/>
              <a:gd name="connsiteX70" fmla="*/ 2561433 w 2610377"/>
              <a:gd name="connsiteY70" fmla="*/ 360700 h 717496"/>
              <a:gd name="connsiteX71" fmla="*/ 2561433 w 2610377"/>
              <a:gd name="connsiteY71" fmla="*/ 219812 h 717496"/>
              <a:gd name="connsiteX72" fmla="*/ 2363697 w 2610377"/>
              <a:gd name="connsiteY72" fmla="*/ 219812 h 717496"/>
              <a:gd name="connsiteX73" fmla="*/ 2363697 w 2610377"/>
              <a:gd name="connsiteY73" fmla="*/ 175458 h 717496"/>
              <a:gd name="connsiteX74" fmla="*/ 2561433 w 2610377"/>
              <a:gd name="connsiteY74" fmla="*/ 175458 h 717496"/>
              <a:gd name="connsiteX75" fmla="*/ 2561433 w 2610377"/>
              <a:gd name="connsiteY75" fmla="*/ 45658 h 717496"/>
              <a:gd name="connsiteX76" fmla="*/ 2332373 w 2610377"/>
              <a:gd name="connsiteY76" fmla="*/ 45658 h 717496"/>
              <a:gd name="connsiteX77" fmla="*/ 2332373 w 2610377"/>
              <a:gd name="connsiteY77" fmla="*/ 1305 h 717496"/>
              <a:gd name="connsiteX78" fmla="*/ 2610378 w 2610377"/>
              <a:gd name="connsiteY78" fmla="*/ 1305 h 717496"/>
              <a:gd name="connsiteX79" fmla="*/ 29367 w 2610377"/>
              <a:gd name="connsiteY79" fmla="*/ 715530 h 717496"/>
              <a:gd name="connsiteX80" fmla="*/ 0 w 2610377"/>
              <a:gd name="connsiteY80" fmla="*/ 715530 h 717496"/>
              <a:gd name="connsiteX81" fmla="*/ 0 w 2610377"/>
              <a:gd name="connsiteY81" fmla="*/ 567466 h 717496"/>
              <a:gd name="connsiteX82" fmla="*/ 29367 w 2610377"/>
              <a:gd name="connsiteY82" fmla="*/ 567466 h 717496"/>
              <a:gd name="connsiteX83" fmla="*/ 29367 w 2610377"/>
              <a:gd name="connsiteY83" fmla="*/ 715530 h 717496"/>
              <a:gd name="connsiteX84" fmla="*/ 78964 w 2610377"/>
              <a:gd name="connsiteY84" fmla="*/ 567466 h 717496"/>
              <a:gd name="connsiteX85" fmla="*/ 110289 w 2610377"/>
              <a:gd name="connsiteY85" fmla="*/ 567466 h 717496"/>
              <a:gd name="connsiteX86" fmla="*/ 157928 w 2610377"/>
              <a:gd name="connsiteY86" fmla="*/ 665958 h 717496"/>
              <a:gd name="connsiteX87" fmla="*/ 205567 w 2610377"/>
              <a:gd name="connsiteY87" fmla="*/ 567466 h 717496"/>
              <a:gd name="connsiteX88" fmla="*/ 236892 w 2610377"/>
              <a:gd name="connsiteY88" fmla="*/ 567466 h 717496"/>
              <a:gd name="connsiteX89" fmla="*/ 236892 w 2610377"/>
              <a:gd name="connsiteY89" fmla="*/ 715530 h 717496"/>
              <a:gd name="connsiteX90" fmla="*/ 207525 w 2610377"/>
              <a:gd name="connsiteY90" fmla="*/ 715530 h 717496"/>
              <a:gd name="connsiteX91" fmla="*/ 207525 w 2610377"/>
              <a:gd name="connsiteY91" fmla="*/ 624865 h 717496"/>
              <a:gd name="connsiteX92" fmla="*/ 167717 w 2610377"/>
              <a:gd name="connsiteY92" fmla="*/ 705746 h 717496"/>
              <a:gd name="connsiteX93" fmla="*/ 148792 w 2610377"/>
              <a:gd name="connsiteY93" fmla="*/ 705746 h 717496"/>
              <a:gd name="connsiteX94" fmla="*/ 108983 w 2610377"/>
              <a:gd name="connsiteY94" fmla="*/ 624865 h 717496"/>
              <a:gd name="connsiteX95" fmla="*/ 108983 w 2610377"/>
              <a:gd name="connsiteY95" fmla="*/ 715530 h 717496"/>
              <a:gd name="connsiteX96" fmla="*/ 79617 w 2610377"/>
              <a:gd name="connsiteY96" fmla="*/ 715530 h 717496"/>
              <a:gd name="connsiteX97" fmla="*/ 79617 w 2610377"/>
              <a:gd name="connsiteY97" fmla="*/ 567466 h 717496"/>
              <a:gd name="connsiteX98" fmla="*/ 281921 w 2610377"/>
              <a:gd name="connsiteY98" fmla="*/ 715530 h 717496"/>
              <a:gd name="connsiteX99" fmla="*/ 281921 w 2610377"/>
              <a:gd name="connsiteY99" fmla="*/ 567466 h 717496"/>
              <a:gd name="connsiteX100" fmla="*/ 346528 w 2610377"/>
              <a:gd name="connsiteY100" fmla="*/ 567466 h 717496"/>
              <a:gd name="connsiteX101" fmla="*/ 399388 w 2610377"/>
              <a:gd name="connsiteY101" fmla="*/ 616386 h 717496"/>
              <a:gd name="connsiteX102" fmla="*/ 346528 w 2610377"/>
              <a:gd name="connsiteY102" fmla="*/ 664653 h 717496"/>
              <a:gd name="connsiteX103" fmla="*/ 311288 w 2610377"/>
              <a:gd name="connsiteY103" fmla="*/ 664653 h 717496"/>
              <a:gd name="connsiteX104" fmla="*/ 311288 w 2610377"/>
              <a:gd name="connsiteY104" fmla="*/ 715530 h 717496"/>
              <a:gd name="connsiteX105" fmla="*/ 281921 w 2610377"/>
              <a:gd name="connsiteY105" fmla="*/ 715530 h 717496"/>
              <a:gd name="connsiteX106" fmla="*/ 311288 w 2610377"/>
              <a:gd name="connsiteY106" fmla="*/ 639215 h 717496"/>
              <a:gd name="connsiteX107" fmla="*/ 344570 w 2610377"/>
              <a:gd name="connsiteY107" fmla="*/ 639215 h 717496"/>
              <a:gd name="connsiteX108" fmla="*/ 369369 w 2610377"/>
              <a:gd name="connsiteY108" fmla="*/ 616386 h 717496"/>
              <a:gd name="connsiteX109" fmla="*/ 344570 w 2610377"/>
              <a:gd name="connsiteY109" fmla="*/ 592905 h 717496"/>
              <a:gd name="connsiteX110" fmla="*/ 311288 w 2610377"/>
              <a:gd name="connsiteY110" fmla="*/ 592905 h 717496"/>
              <a:gd name="connsiteX111" fmla="*/ 311288 w 2610377"/>
              <a:gd name="connsiteY111" fmla="*/ 639215 h 717496"/>
              <a:gd name="connsiteX112" fmla="*/ 426144 w 2610377"/>
              <a:gd name="connsiteY112" fmla="*/ 641824 h 717496"/>
              <a:gd name="connsiteX113" fmla="*/ 503803 w 2610377"/>
              <a:gd name="connsiteY113" fmla="*/ 565510 h 717496"/>
              <a:gd name="connsiteX114" fmla="*/ 581462 w 2610377"/>
              <a:gd name="connsiteY114" fmla="*/ 641824 h 717496"/>
              <a:gd name="connsiteX115" fmla="*/ 503803 w 2610377"/>
              <a:gd name="connsiteY115" fmla="*/ 717486 h 717496"/>
              <a:gd name="connsiteX116" fmla="*/ 426144 w 2610377"/>
              <a:gd name="connsiteY116" fmla="*/ 641824 h 717496"/>
              <a:gd name="connsiteX117" fmla="*/ 503803 w 2610377"/>
              <a:gd name="connsiteY117" fmla="*/ 690744 h 717496"/>
              <a:gd name="connsiteX118" fmla="*/ 551442 w 2610377"/>
              <a:gd name="connsiteY118" fmla="*/ 641824 h 717496"/>
              <a:gd name="connsiteX119" fmla="*/ 503803 w 2610377"/>
              <a:gd name="connsiteY119" fmla="*/ 592905 h 717496"/>
              <a:gd name="connsiteX120" fmla="*/ 456164 w 2610377"/>
              <a:gd name="connsiteY120" fmla="*/ 641824 h 717496"/>
              <a:gd name="connsiteX121" fmla="*/ 503803 w 2610377"/>
              <a:gd name="connsiteY121" fmla="*/ 690744 h 717496"/>
              <a:gd name="connsiteX122" fmla="*/ 629754 w 2610377"/>
              <a:gd name="connsiteY122" fmla="*/ 667262 h 717496"/>
              <a:gd name="connsiteX123" fmla="*/ 667604 w 2610377"/>
              <a:gd name="connsiteY123" fmla="*/ 691396 h 717496"/>
              <a:gd name="connsiteX124" fmla="*/ 693055 w 2610377"/>
              <a:gd name="connsiteY124" fmla="*/ 675089 h 717496"/>
              <a:gd name="connsiteX125" fmla="*/ 664341 w 2610377"/>
              <a:gd name="connsiteY125" fmla="*/ 654217 h 717496"/>
              <a:gd name="connsiteX126" fmla="*/ 612786 w 2610377"/>
              <a:gd name="connsiteY126" fmla="*/ 607907 h 717496"/>
              <a:gd name="connsiteX127" fmla="*/ 664994 w 2610377"/>
              <a:gd name="connsiteY127" fmla="*/ 565510 h 717496"/>
              <a:gd name="connsiteX128" fmla="*/ 719812 w 2610377"/>
              <a:gd name="connsiteY128" fmla="*/ 597470 h 717496"/>
              <a:gd name="connsiteX129" fmla="*/ 696971 w 2610377"/>
              <a:gd name="connsiteY129" fmla="*/ 613777 h 717496"/>
              <a:gd name="connsiteX130" fmla="*/ 664341 w 2610377"/>
              <a:gd name="connsiteY130" fmla="*/ 592252 h 717496"/>
              <a:gd name="connsiteX131" fmla="*/ 642806 w 2610377"/>
              <a:gd name="connsiteY131" fmla="*/ 607907 h 717496"/>
              <a:gd name="connsiteX132" fmla="*/ 672172 w 2610377"/>
              <a:gd name="connsiteY132" fmla="*/ 628127 h 717496"/>
              <a:gd name="connsiteX133" fmla="*/ 723075 w 2610377"/>
              <a:gd name="connsiteY133" fmla="*/ 674437 h 717496"/>
              <a:gd name="connsiteX134" fmla="*/ 666952 w 2610377"/>
              <a:gd name="connsiteY134" fmla="*/ 717486 h 717496"/>
              <a:gd name="connsiteX135" fmla="*/ 607566 w 2610377"/>
              <a:gd name="connsiteY135" fmla="*/ 682264 h 717496"/>
              <a:gd name="connsiteX136" fmla="*/ 629754 w 2610377"/>
              <a:gd name="connsiteY136" fmla="*/ 667262 h 717496"/>
              <a:gd name="connsiteX137" fmla="*/ 770714 w 2610377"/>
              <a:gd name="connsiteY137" fmla="*/ 667262 h 717496"/>
              <a:gd name="connsiteX138" fmla="*/ 808565 w 2610377"/>
              <a:gd name="connsiteY138" fmla="*/ 691396 h 717496"/>
              <a:gd name="connsiteX139" fmla="*/ 834016 w 2610377"/>
              <a:gd name="connsiteY139" fmla="*/ 675089 h 717496"/>
              <a:gd name="connsiteX140" fmla="*/ 805302 w 2610377"/>
              <a:gd name="connsiteY140" fmla="*/ 654217 h 717496"/>
              <a:gd name="connsiteX141" fmla="*/ 753747 w 2610377"/>
              <a:gd name="connsiteY141" fmla="*/ 607907 h 717496"/>
              <a:gd name="connsiteX142" fmla="*/ 805954 w 2610377"/>
              <a:gd name="connsiteY142" fmla="*/ 565510 h 717496"/>
              <a:gd name="connsiteX143" fmla="*/ 860772 w 2610377"/>
              <a:gd name="connsiteY143" fmla="*/ 597470 h 717496"/>
              <a:gd name="connsiteX144" fmla="*/ 837931 w 2610377"/>
              <a:gd name="connsiteY144" fmla="*/ 613777 h 717496"/>
              <a:gd name="connsiteX145" fmla="*/ 805302 w 2610377"/>
              <a:gd name="connsiteY145" fmla="*/ 592252 h 717496"/>
              <a:gd name="connsiteX146" fmla="*/ 783766 w 2610377"/>
              <a:gd name="connsiteY146" fmla="*/ 607907 h 717496"/>
              <a:gd name="connsiteX147" fmla="*/ 813133 w 2610377"/>
              <a:gd name="connsiteY147" fmla="*/ 628127 h 717496"/>
              <a:gd name="connsiteX148" fmla="*/ 864035 w 2610377"/>
              <a:gd name="connsiteY148" fmla="*/ 674437 h 717496"/>
              <a:gd name="connsiteX149" fmla="*/ 807912 w 2610377"/>
              <a:gd name="connsiteY149" fmla="*/ 717486 h 717496"/>
              <a:gd name="connsiteX150" fmla="*/ 748526 w 2610377"/>
              <a:gd name="connsiteY150" fmla="*/ 682264 h 717496"/>
              <a:gd name="connsiteX151" fmla="*/ 770714 w 2610377"/>
              <a:gd name="connsiteY151" fmla="*/ 667262 h 717496"/>
              <a:gd name="connsiteX152" fmla="*/ 933863 w 2610377"/>
              <a:gd name="connsiteY152" fmla="*/ 715530 h 717496"/>
              <a:gd name="connsiteX153" fmla="*/ 904496 w 2610377"/>
              <a:gd name="connsiteY153" fmla="*/ 715530 h 717496"/>
              <a:gd name="connsiteX154" fmla="*/ 904496 w 2610377"/>
              <a:gd name="connsiteY154" fmla="*/ 567466 h 717496"/>
              <a:gd name="connsiteX155" fmla="*/ 933863 w 2610377"/>
              <a:gd name="connsiteY155" fmla="*/ 567466 h 717496"/>
              <a:gd name="connsiteX156" fmla="*/ 933863 w 2610377"/>
              <a:gd name="connsiteY156" fmla="*/ 715530 h 717496"/>
              <a:gd name="connsiteX157" fmla="*/ 978892 w 2610377"/>
              <a:gd name="connsiteY157" fmla="*/ 567466 h 717496"/>
              <a:gd name="connsiteX158" fmla="*/ 1047414 w 2610377"/>
              <a:gd name="connsiteY158" fmla="*/ 567466 h 717496"/>
              <a:gd name="connsiteX159" fmla="*/ 1093096 w 2610377"/>
              <a:gd name="connsiteY159" fmla="*/ 607907 h 717496"/>
              <a:gd name="connsiteX160" fmla="*/ 1073518 w 2610377"/>
              <a:gd name="connsiteY160" fmla="*/ 638563 h 717496"/>
              <a:gd name="connsiteX161" fmla="*/ 1098316 w 2610377"/>
              <a:gd name="connsiteY161" fmla="*/ 674437 h 717496"/>
              <a:gd name="connsiteX162" fmla="*/ 1051982 w 2610377"/>
              <a:gd name="connsiteY162" fmla="*/ 715530 h 717496"/>
              <a:gd name="connsiteX163" fmla="*/ 978892 w 2610377"/>
              <a:gd name="connsiteY163" fmla="*/ 715530 h 717496"/>
              <a:gd name="connsiteX164" fmla="*/ 978892 w 2610377"/>
              <a:gd name="connsiteY164" fmla="*/ 567466 h 717496"/>
              <a:gd name="connsiteX165" fmla="*/ 1008258 w 2610377"/>
              <a:gd name="connsiteY165" fmla="*/ 592905 h 717496"/>
              <a:gd name="connsiteX166" fmla="*/ 1008258 w 2610377"/>
              <a:gd name="connsiteY166" fmla="*/ 629431 h 717496"/>
              <a:gd name="connsiteX167" fmla="*/ 1042846 w 2610377"/>
              <a:gd name="connsiteY167" fmla="*/ 629431 h 717496"/>
              <a:gd name="connsiteX168" fmla="*/ 1062424 w 2610377"/>
              <a:gd name="connsiteY168" fmla="*/ 611820 h 717496"/>
              <a:gd name="connsiteX169" fmla="*/ 1042193 w 2610377"/>
              <a:gd name="connsiteY169" fmla="*/ 593557 h 717496"/>
              <a:gd name="connsiteX170" fmla="*/ 1008258 w 2610377"/>
              <a:gd name="connsiteY170" fmla="*/ 593557 h 717496"/>
              <a:gd name="connsiteX171" fmla="*/ 1008258 w 2610377"/>
              <a:gd name="connsiteY171" fmla="*/ 652260 h 717496"/>
              <a:gd name="connsiteX172" fmla="*/ 1008258 w 2610377"/>
              <a:gd name="connsiteY172" fmla="*/ 690744 h 717496"/>
              <a:gd name="connsiteX173" fmla="*/ 1046762 w 2610377"/>
              <a:gd name="connsiteY173" fmla="*/ 690744 h 717496"/>
              <a:gd name="connsiteX174" fmla="*/ 1066340 w 2610377"/>
              <a:gd name="connsiteY174" fmla="*/ 672480 h 717496"/>
              <a:gd name="connsiteX175" fmla="*/ 1046762 w 2610377"/>
              <a:gd name="connsiteY175" fmla="*/ 652260 h 717496"/>
              <a:gd name="connsiteX176" fmla="*/ 1008258 w 2610377"/>
              <a:gd name="connsiteY176" fmla="*/ 652260 h 717496"/>
              <a:gd name="connsiteX177" fmla="*/ 1247108 w 2610377"/>
              <a:gd name="connsiteY177" fmla="*/ 715530 h 717496"/>
              <a:gd name="connsiteX178" fmla="*/ 1137472 w 2610377"/>
              <a:gd name="connsiteY178" fmla="*/ 715530 h 717496"/>
              <a:gd name="connsiteX179" fmla="*/ 1137472 w 2610377"/>
              <a:gd name="connsiteY179" fmla="*/ 567466 h 717496"/>
              <a:gd name="connsiteX180" fmla="*/ 1166839 w 2610377"/>
              <a:gd name="connsiteY180" fmla="*/ 567466 h 717496"/>
              <a:gd name="connsiteX181" fmla="*/ 1166839 w 2610377"/>
              <a:gd name="connsiteY181" fmla="*/ 690091 h 717496"/>
              <a:gd name="connsiteX182" fmla="*/ 1246455 w 2610377"/>
              <a:gd name="connsiteY182" fmla="*/ 690091 h 717496"/>
              <a:gd name="connsiteX183" fmla="*/ 1246455 w 2610377"/>
              <a:gd name="connsiteY183" fmla="*/ 715530 h 717496"/>
              <a:gd name="connsiteX184" fmla="*/ 1281043 w 2610377"/>
              <a:gd name="connsiteY184" fmla="*/ 567466 h 717496"/>
              <a:gd name="connsiteX185" fmla="*/ 1386763 w 2610377"/>
              <a:gd name="connsiteY185" fmla="*/ 567466 h 717496"/>
              <a:gd name="connsiteX186" fmla="*/ 1386763 w 2610377"/>
              <a:gd name="connsiteY186" fmla="*/ 592905 h 717496"/>
              <a:gd name="connsiteX187" fmla="*/ 1311062 w 2610377"/>
              <a:gd name="connsiteY187" fmla="*/ 592905 h 717496"/>
              <a:gd name="connsiteX188" fmla="*/ 1311062 w 2610377"/>
              <a:gd name="connsiteY188" fmla="*/ 626822 h 717496"/>
              <a:gd name="connsiteX189" fmla="*/ 1376974 w 2610377"/>
              <a:gd name="connsiteY189" fmla="*/ 626822 h 717496"/>
              <a:gd name="connsiteX190" fmla="*/ 1376974 w 2610377"/>
              <a:gd name="connsiteY190" fmla="*/ 652260 h 717496"/>
              <a:gd name="connsiteX191" fmla="*/ 1311062 w 2610377"/>
              <a:gd name="connsiteY191" fmla="*/ 652260 h 717496"/>
              <a:gd name="connsiteX192" fmla="*/ 1311062 w 2610377"/>
              <a:gd name="connsiteY192" fmla="*/ 690091 h 717496"/>
              <a:gd name="connsiteX193" fmla="*/ 1388721 w 2610377"/>
              <a:gd name="connsiteY193" fmla="*/ 690091 h 717496"/>
              <a:gd name="connsiteX194" fmla="*/ 1388721 w 2610377"/>
              <a:gd name="connsiteY194" fmla="*/ 715530 h 717496"/>
              <a:gd name="connsiteX195" fmla="*/ 1281696 w 2610377"/>
              <a:gd name="connsiteY195" fmla="*/ 715530 h 717496"/>
              <a:gd name="connsiteX196" fmla="*/ 1281696 w 2610377"/>
              <a:gd name="connsiteY196" fmla="*/ 567466 h 717496"/>
              <a:gd name="connsiteX197" fmla="*/ 1504230 w 2610377"/>
              <a:gd name="connsiteY197" fmla="*/ 715530 h 717496"/>
              <a:gd name="connsiteX198" fmla="*/ 1504230 w 2610377"/>
              <a:gd name="connsiteY198" fmla="*/ 567466 h 717496"/>
              <a:gd name="connsiteX199" fmla="*/ 1530987 w 2610377"/>
              <a:gd name="connsiteY199" fmla="*/ 567466 h 717496"/>
              <a:gd name="connsiteX200" fmla="*/ 1613214 w 2610377"/>
              <a:gd name="connsiteY200" fmla="*/ 669219 h 717496"/>
              <a:gd name="connsiteX201" fmla="*/ 1613214 w 2610377"/>
              <a:gd name="connsiteY201" fmla="*/ 567466 h 717496"/>
              <a:gd name="connsiteX202" fmla="*/ 1642580 w 2610377"/>
              <a:gd name="connsiteY202" fmla="*/ 567466 h 717496"/>
              <a:gd name="connsiteX203" fmla="*/ 1642580 w 2610377"/>
              <a:gd name="connsiteY203" fmla="*/ 715530 h 717496"/>
              <a:gd name="connsiteX204" fmla="*/ 1615171 w 2610377"/>
              <a:gd name="connsiteY204" fmla="*/ 715530 h 717496"/>
              <a:gd name="connsiteX205" fmla="*/ 1533597 w 2610377"/>
              <a:gd name="connsiteY205" fmla="*/ 615081 h 717496"/>
              <a:gd name="connsiteX206" fmla="*/ 1533597 w 2610377"/>
              <a:gd name="connsiteY206" fmla="*/ 715530 h 717496"/>
              <a:gd name="connsiteX207" fmla="*/ 1504230 w 2610377"/>
              <a:gd name="connsiteY207" fmla="*/ 715530 h 717496"/>
              <a:gd name="connsiteX208" fmla="*/ 1682388 w 2610377"/>
              <a:gd name="connsiteY208" fmla="*/ 641824 h 717496"/>
              <a:gd name="connsiteX209" fmla="*/ 1760047 w 2610377"/>
              <a:gd name="connsiteY209" fmla="*/ 565510 h 717496"/>
              <a:gd name="connsiteX210" fmla="*/ 1837706 w 2610377"/>
              <a:gd name="connsiteY210" fmla="*/ 641824 h 717496"/>
              <a:gd name="connsiteX211" fmla="*/ 1760047 w 2610377"/>
              <a:gd name="connsiteY211" fmla="*/ 717486 h 717496"/>
              <a:gd name="connsiteX212" fmla="*/ 1682388 w 2610377"/>
              <a:gd name="connsiteY212" fmla="*/ 641824 h 717496"/>
              <a:gd name="connsiteX213" fmla="*/ 1760047 w 2610377"/>
              <a:gd name="connsiteY213" fmla="*/ 690744 h 717496"/>
              <a:gd name="connsiteX214" fmla="*/ 1807687 w 2610377"/>
              <a:gd name="connsiteY214" fmla="*/ 641824 h 717496"/>
              <a:gd name="connsiteX215" fmla="*/ 1760047 w 2610377"/>
              <a:gd name="connsiteY215" fmla="*/ 592905 h 717496"/>
              <a:gd name="connsiteX216" fmla="*/ 1712408 w 2610377"/>
              <a:gd name="connsiteY216" fmla="*/ 641824 h 717496"/>
              <a:gd name="connsiteX217" fmla="*/ 1760047 w 2610377"/>
              <a:gd name="connsiteY217" fmla="*/ 690744 h 717496"/>
              <a:gd name="connsiteX218" fmla="*/ 1954520 w 2610377"/>
              <a:gd name="connsiteY218" fmla="*/ 567466 h 717496"/>
              <a:gd name="connsiteX219" fmla="*/ 1985845 w 2610377"/>
              <a:gd name="connsiteY219" fmla="*/ 567466 h 717496"/>
              <a:gd name="connsiteX220" fmla="*/ 2033485 w 2610377"/>
              <a:gd name="connsiteY220" fmla="*/ 665958 h 717496"/>
              <a:gd name="connsiteX221" fmla="*/ 2081124 w 2610377"/>
              <a:gd name="connsiteY221" fmla="*/ 567466 h 717496"/>
              <a:gd name="connsiteX222" fmla="*/ 2112448 w 2610377"/>
              <a:gd name="connsiteY222" fmla="*/ 567466 h 717496"/>
              <a:gd name="connsiteX223" fmla="*/ 2112448 w 2610377"/>
              <a:gd name="connsiteY223" fmla="*/ 715530 h 717496"/>
              <a:gd name="connsiteX224" fmla="*/ 2083082 w 2610377"/>
              <a:gd name="connsiteY224" fmla="*/ 715530 h 717496"/>
              <a:gd name="connsiteX225" fmla="*/ 2083082 w 2610377"/>
              <a:gd name="connsiteY225" fmla="*/ 624865 h 717496"/>
              <a:gd name="connsiteX226" fmla="*/ 2043274 w 2610377"/>
              <a:gd name="connsiteY226" fmla="*/ 705746 h 717496"/>
              <a:gd name="connsiteX227" fmla="*/ 2024348 w 2610377"/>
              <a:gd name="connsiteY227" fmla="*/ 705746 h 717496"/>
              <a:gd name="connsiteX228" fmla="*/ 1984540 w 2610377"/>
              <a:gd name="connsiteY228" fmla="*/ 624865 h 717496"/>
              <a:gd name="connsiteX229" fmla="*/ 1984540 w 2610377"/>
              <a:gd name="connsiteY229" fmla="*/ 715530 h 717496"/>
              <a:gd name="connsiteX230" fmla="*/ 1955173 w 2610377"/>
              <a:gd name="connsiteY230" fmla="*/ 715530 h 717496"/>
              <a:gd name="connsiteX231" fmla="*/ 1955173 w 2610377"/>
              <a:gd name="connsiteY231" fmla="*/ 567466 h 717496"/>
              <a:gd name="connsiteX232" fmla="*/ 2152257 w 2610377"/>
              <a:gd name="connsiteY232" fmla="*/ 641824 h 717496"/>
              <a:gd name="connsiteX233" fmla="*/ 2229915 w 2610377"/>
              <a:gd name="connsiteY233" fmla="*/ 565510 h 717496"/>
              <a:gd name="connsiteX234" fmla="*/ 2307574 w 2610377"/>
              <a:gd name="connsiteY234" fmla="*/ 641824 h 717496"/>
              <a:gd name="connsiteX235" fmla="*/ 2229915 w 2610377"/>
              <a:gd name="connsiteY235" fmla="*/ 717486 h 717496"/>
              <a:gd name="connsiteX236" fmla="*/ 2152257 w 2610377"/>
              <a:gd name="connsiteY236" fmla="*/ 641824 h 717496"/>
              <a:gd name="connsiteX237" fmla="*/ 2229915 w 2610377"/>
              <a:gd name="connsiteY237" fmla="*/ 690744 h 717496"/>
              <a:gd name="connsiteX238" fmla="*/ 2277555 w 2610377"/>
              <a:gd name="connsiteY238" fmla="*/ 641824 h 717496"/>
              <a:gd name="connsiteX239" fmla="*/ 2229915 w 2610377"/>
              <a:gd name="connsiteY239" fmla="*/ 592905 h 717496"/>
              <a:gd name="connsiteX240" fmla="*/ 2182276 w 2610377"/>
              <a:gd name="connsiteY240" fmla="*/ 641824 h 717496"/>
              <a:gd name="connsiteX241" fmla="*/ 2229915 w 2610377"/>
              <a:gd name="connsiteY241" fmla="*/ 690744 h 717496"/>
              <a:gd name="connsiteX242" fmla="*/ 2342814 w 2610377"/>
              <a:gd name="connsiteY242" fmla="*/ 715530 h 717496"/>
              <a:gd name="connsiteX243" fmla="*/ 2342814 w 2610377"/>
              <a:gd name="connsiteY243" fmla="*/ 567466 h 717496"/>
              <a:gd name="connsiteX244" fmla="*/ 2408074 w 2610377"/>
              <a:gd name="connsiteY244" fmla="*/ 567466 h 717496"/>
              <a:gd name="connsiteX245" fmla="*/ 2460934 w 2610377"/>
              <a:gd name="connsiteY245" fmla="*/ 615081 h 717496"/>
              <a:gd name="connsiteX246" fmla="*/ 2433525 w 2610377"/>
              <a:gd name="connsiteY246" fmla="*/ 656826 h 717496"/>
              <a:gd name="connsiteX247" fmla="*/ 2466807 w 2610377"/>
              <a:gd name="connsiteY247" fmla="*/ 715530 h 717496"/>
              <a:gd name="connsiteX248" fmla="*/ 2434177 w 2610377"/>
              <a:gd name="connsiteY248" fmla="*/ 715530 h 717496"/>
              <a:gd name="connsiteX249" fmla="*/ 2404158 w 2610377"/>
              <a:gd name="connsiteY249" fmla="*/ 661392 h 717496"/>
              <a:gd name="connsiteX250" fmla="*/ 2372181 w 2610377"/>
              <a:gd name="connsiteY250" fmla="*/ 661392 h 717496"/>
              <a:gd name="connsiteX251" fmla="*/ 2372181 w 2610377"/>
              <a:gd name="connsiteY251" fmla="*/ 714877 h 717496"/>
              <a:gd name="connsiteX252" fmla="*/ 2342814 w 2610377"/>
              <a:gd name="connsiteY252" fmla="*/ 714877 h 717496"/>
              <a:gd name="connsiteX253" fmla="*/ 2372181 w 2610377"/>
              <a:gd name="connsiteY253" fmla="*/ 635954 h 717496"/>
              <a:gd name="connsiteX254" fmla="*/ 2406116 w 2610377"/>
              <a:gd name="connsiteY254" fmla="*/ 635954 h 717496"/>
              <a:gd name="connsiteX255" fmla="*/ 2430914 w 2610377"/>
              <a:gd name="connsiteY255" fmla="*/ 615081 h 717496"/>
              <a:gd name="connsiteX256" fmla="*/ 2406116 w 2610377"/>
              <a:gd name="connsiteY256" fmla="*/ 592905 h 717496"/>
              <a:gd name="connsiteX257" fmla="*/ 2372181 w 2610377"/>
              <a:gd name="connsiteY257" fmla="*/ 592905 h 717496"/>
              <a:gd name="connsiteX258" fmla="*/ 2372181 w 2610377"/>
              <a:gd name="connsiteY258" fmla="*/ 635954 h 717496"/>
              <a:gd name="connsiteX259" fmla="*/ 2503353 w 2610377"/>
              <a:gd name="connsiteY259" fmla="*/ 567466 h 717496"/>
              <a:gd name="connsiteX260" fmla="*/ 2609073 w 2610377"/>
              <a:gd name="connsiteY260" fmla="*/ 567466 h 717496"/>
              <a:gd name="connsiteX261" fmla="*/ 2609073 w 2610377"/>
              <a:gd name="connsiteY261" fmla="*/ 592905 h 717496"/>
              <a:gd name="connsiteX262" fmla="*/ 2533372 w 2610377"/>
              <a:gd name="connsiteY262" fmla="*/ 592905 h 717496"/>
              <a:gd name="connsiteX263" fmla="*/ 2533372 w 2610377"/>
              <a:gd name="connsiteY263" fmla="*/ 626822 h 717496"/>
              <a:gd name="connsiteX264" fmla="*/ 2598631 w 2610377"/>
              <a:gd name="connsiteY264" fmla="*/ 626822 h 717496"/>
              <a:gd name="connsiteX265" fmla="*/ 2598631 w 2610377"/>
              <a:gd name="connsiteY265" fmla="*/ 652260 h 717496"/>
              <a:gd name="connsiteX266" fmla="*/ 2532719 w 2610377"/>
              <a:gd name="connsiteY266" fmla="*/ 652260 h 717496"/>
              <a:gd name="connsiteX267" fmla="*/ 2532719 w 2610377"/>
              <a:gd name="connsiteY267" fmla="*/ 690091 h 717496"/>
              <a:gd name="connsiteX268" fmla="*/ 2610378 w 2610377"/>
              <a:gd name="connsiteY268" fmla="*/ 690091 h 717496"/>
              <a:gd name="connsiteX269" fmla="*/ 2610378 w 2610377"/>
              <a:gd name="connsiteY269" fmla="*/ 715530 h 717496"/>
              <a:gd name="connsiteX270" fmla="*/ 2503353 w 2610377"/>
              <a:gd name="connsiteY270" fmla="*/ 715530 h 717496"/>
              <a:gd name="connsiteX271" fmla="*/ 2503353 w 2610377"/>
              <a:gd name="connsiteY271" fmla="*/ 567466 h 71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610377" h="717496">
                <a:moveTo>
                  <a:pt x="219924" y="234161"/>
                </a:moveTo>
                <a:cubicBezTo>
                  <a:pt x="274742" y="219812"/>
                  <a:pt x="308677" y="178067"/>
                  <a:pt x="308677" y="120016"/>
                </a:cubicBezTo>
                <a:cubicBezTo>
                  <a:pt x="308677" y="46311"/>
                  <a:pt x="255164" y="0"/>
                  <a:pt x="173590" y="0"/>
                </a:cubicBezTo>
                <a:lnTo>
                  <a:pt x="653" y="0"/>
                </a:lnTo>
                <a:lnTo>
                  <a:pt x="653" y="404401"/>
                </a:lnTo>
                <a:lnTo>
                  <a:pt x="49597" y="404401"/>
                </a:lnTo>
                <a:lnTo>
                  <a:pt x="49597" y="240032"/>
                </a:lnTo>
                <a:lnTo>
                  <a:pt x="167064" y="240032"/>
                </a:lnTo>
                <a:lnTo>
                  <a:pt x="262343" y="404401"/>
                </a:lnTo>
                <a:lnTo>
                  <a:pt x="320424" y="404401"/>
                </a:lnTo>
                <a:lnTo>
                  <a:pt x="219924" y="234161"/>
                </a:lnTo>
                <a:close/>
                <a:moveTo>
                  <a:pt x="49597" y="196330"/>
                </a:moveTo>
                <a:lnTo>
                  <a:pt x="49597" y="45006"/>
                </a:lnTo>
                <a:lnTo>
                  <a:pt x="170980" y="45006"/>
                </a:lnTo>
                <a:cubicBezTo>
                  <a:pt x="227756" y="45006"/>
                  <a:pt x="256470" y="73705"/>
                  <a:pt x="256470" y="120668"/>
                </a:cubicBezTo>
                <a:cubicBezTo>
                  <a:pt x="256470" y="166326"/>
                  <a:pt x="227103" y="196983"/>
                  <a:pt x="170980" y="196983"/>
                </a:cubicBezTo>
                <a:lnTo>
                  <a:pt x="49597" y="196983"/>
                </a:lnTo>
                <a:close/>
                <a:moveTo>
                  <a:pt x="1414825" y="652"/>
                </a:moveTo>
                <a:lnTo>
                  <a:pt x="1465075" y="652"/>
                </a:lnTo>
                <a:lnTo>
                  <a:pt x="1344997" y="405054"/>
                </a:lnTo>
                <a:lnTo>
                  <a:pt x="1273212" y="405054"/>
                </a:lnTo>
                <a:lnTo>
                  <a:pt x="1172712" y="75662"/>
                </a:lnTo>
                <a:lnTo>
                  <a:pt x="1072213" y="405054"/>
                </a:lnTo>
                <a:lnTo>
                  <a:pt x="1000427" y="405054"/>
                </a:lnTo>
                <a:lnTo>
                  <a:pt x="880350" y="652"/>
                </a:lnTo>
                <a:lnTo>
                  <a:pt x="930600" y="652"/>
                </a:lnTo>
                <a:lnTo>
                  <a:pt x="1036973" y="354830"/>
                </a:lnTo>
                <a:lnTo>
                  <a:pt x="1146609" y="3914"/>
                </a:lnTo>
                <a:lnTo>
                  <a:pt x="1198816" y="3914"/>
                </a:lnTo>
                <a:lnTo>
                  <a:pt x="1308452" y="354830"/>
                </a:lnTo>
                <a:lnTo>
                  <a:pt x="1414825" y="652"/>
                </a:lnTo>
                <a:close/>
                <a:moveTo>
                  <a:pt x="1621697" y="652"/>
                </a:moveTo>
                <a:lnTo>
                  <a:pt x="1670642" y="652"/>
                </a:lnTo>
                <a:lnTo>
                  <a:pt x="1670642" y="405054"/>
                </a:lnTo>
                <a:lnTo>
                  <a:pt x="1621697" y="405054"/>
                </a:lnTo>
                <a:lnTo>
                  <a:pt x="1621697" y="652"/>
                </a:lnTo>
                <a:close/>
                <a:moveTo>
                  <a:pt x="752442" y="405054"/>
                </a:moveTo>
                <a:lnTo>
                  <a:pt x="467910" y="405054"/>
                </a:lnTo>
                <a:lnTo>
                  <a:pt x="467910" y="652"/>
                </a:lnTo>
                <a:lnTo>
                  <a:pt x="745916" y="652"/>
                </a:lnTo>
                <a:lnTo>
                  <a:pt x="745916" y="45006"/>
                </a:lnTo>
                <a:lnTo>
                  <a:pt x="516855" y="45006"/>
                </a:lnTo>
                <a:lnTo>
                  <a:pt x="516855" y="174806"/>
                </a:lnTo>
                <a:lnTo>
                  <a:pt x="714591" y="174806"/>
                </a:lnTo>
                <a:lnTo>
                  <a:pt x="714591" y="219159"/>
                </a:lnTo>
                <a:lnTo>
                  <a:pt x="516855" y="219159"/>
                </a:lnTo>
                <a:lnTo>
                  <a:pt x="516855" y="360048"/>
                </a:lnTo>
                <a:lnTo>
                  <a:pt x="752442" y="360048"/>
                </a:lnTo>
                <a:lnTo>
                  <a:pt x="752442" y="405054"/>
                </a:lnTo>
                <a:close/>
                <a:moveTo>
                  <a:pt x="2077861" y="234161"/>
                </a:moveTo>
                <a:cubicBezTo>
                  <a:pt x="2132679" y="219812"/>
                  <a:pt x="2166614" y="178067"/>
                  <a:pt x="2166614" y="120016"/>
                </a:cubicBezTo>
                <a:cubicBezTo>
                  <a:pt x="2166614" y="46311"/>
                  <a:pt x="2113101" y="0"/>
                  <a:pt x="2031527" y="0"/>
                </a:cubicBezTo>
                <a:lnTo>
                  <a:pt x="1858589" y="0"/>
                </a:lnTo>
                <a:lnTo>
                  <a:pt x="1858589" y="404401"/>
                </a:lnTo>
                <a:lnTo>
                  <a:pt x="1907534" y="404401"/>
                </a:lnTo>
                <a:lnTo>
                  <a:pt x="1907534" y="240032"/>
                </a:lnTo>
                <a:lnTo>
                  <a:pt x="2025001" y="240032"/>
                </a:lnTo>
                <a:lnTo>
                  <a:pt x="2120280" y="404401"/>
                </a:lnTo>
                <a:lnTo>
                  <a:pt x="2178360" y="404401"/>
                </a:lnTo>
                <a:lnTo>
                  <a:pt x="2077861" y="234161"/>
                </a:lnTo>
                <a:close/>
                <a:moveTo>
                  <a:pt x="1907534" y="196330"/>
                </a:moveTo>
                <a:lnTo>
                  <a:pt x="1907534" y="45006"/>
                </a:lnTo>
                <a:lnTo>
                  <a:pt x="2029569" y="45006"/>
                </a:lnTo>
                <a:cubicBezTo>
                  <a:pt x="2086345" y="45006"/>
                  <a:pt x="2115059" y="73705"/>
                  <a:pt x="2115059" y="120668"/>
                </a:cubicBezTo>
                <a:cubicBezTo>
                  <a:pt x="2115059" y="166326"/>
                  <a:pt x="2085692" y="196983"/>
                  <a:pt x="2029569" y="196983"/>
                </a:cubicBezTo>
                <a:lnTo>
                  <a:pt x="1907534" y="196983"/>
                </a:lnTo>
                <a:close/>
                <a:moveTo>
                  <a:pt x="2610378" y="652"/>
                </a:moveTo>
                <a:lnTo>
                  <a:pt x="2610378" y="405054"/>
                </a:lnTo>
                <a:lnTo>
                  <a:pt x="2325847" y="405054"/>
                </a:lnTo>
                <a:lnTo>
                  <a:pt x="2325847" y="360700"/>
                </a:lnTo>
                <a:lnTo>
                  <a:pt x="2561433" y="360700"/>
                </a:lnTo>
                <a:lnTo>
                  <a:pt x="2561433" y="219812"/>
                </a:lnTo>
                <a:lnTo>
                  <a:pt x="2363697" y="219812"/>
                </a:lnTo>
                <a:lnTo>
                  <a:pt x="2363697" y="175458"/>
                </a:lnTo>
                <a:lnTo>
                  <a:pt x="2561433" y="175458"/>
                </a:lnTo>
                <a:lnTo>
                  <a:pt x="2561433" y="45658"/>
                </a:lnTo>
                <a:lnTo>
                  <a:pt x="2332373" y="45658"/>
                </a:lnTo>
                <a:lnTo>
                  <a:pt x="2332373" y="1305"/>
                </a:lnTo>
                <a:lnTo>
                  <a:pt x="2610378" y="1305"/>
                </a:lnTo>
                <a:close/>
                <a:moveTo>
                  <a:pt x="29367" y="715530"/>
                </a:moveTo>
                <a:lnTo>
                  <a:pt x="0" y="715530"/>
                </a:lnTo>
                <a:lnTo>
                  <a:pt x="0" y="567466"/>
                </a:lnTo>
                <a:lnTo>
                  <a:pt x="29367" y="567466"/>
                </a:lnTo>
                <a:lnTo>
                  <a:pt x="29367" y="715530"/>
                </a:lnTo>
                <a:close/>
                <a:moveTo>
                  <a:pt x="78964" y="567466"/>
                </a:moveTo>
                <a:lnTo>
                  <a:pt x="110289" y="567466"/>
                </a:lnTo>
                <a:lnTo>
                  <a:pt x="157928" y="665958"/>
                </a:lnTo>
                <a:lnTo>
                  <a:pt x="205567" y="567466"/>
                </a:lnTo>
                <a:lnTo>
                  <a:pt x="236892" y="567466"/>
                </a:lnTo>
                <a:lnTo>
                  <a:pt x="236892" y="715530"/>
                </a:lnTo>
                <a:lnTo>
                  <a:pt x="207525" y="715530"/>
                </a:lnTo>
                <a:lnTo>
                  <a:pt x="207525" y="624865"/>
                </a:lnTo>
                <a:lnTo>
                  <a:pt x="167717" y="705746"/>
                </a:lnTo>
                <a:lnTo>
                  <a:pt x="148792" y="705746"/>
                </a:lnTo>
                <a:lnTo>
                  <a:pt x="108983" y="624865"/>
                </a:lnTo>
                <a:lnTo>
                  <a:pt x="108983" y="715530"/>
                </a:lnTo>
                <a:lnTo>
                  <a:pt x="79617" y="715530"/>
                </a:lnTo>
                <a:lnTo>
                  <a:pt x="79617" y="567466"/>
                </a:lnTo>
                <a:close/>
                <a:moveTo>
                  <a:pt x="281921" y="715530"/>
                </a:moveTo>
                <a:lnTo>
                  <a:pt x="281921" y="567466"/>
                </a:lnTo>
                <a:lnTo>
                  <a:pt x="346528" y="567466"/>
                </a:lnTo>
                <a:cubicBezTo>
                  <a:pt x="378505" y="567466"/>
                  <a:pt x="399388" y="587034"/>
                  <a:pt x="399388" y="616386"/>
                </a:cubicBezTo>
                <a:cubicBezTo>
                  <a:pt x="399388" y="644433"/>
                  <a:pt x="378505" y="664653"/>
                  <a:pt x="346528" y="664653"/>
                </a:cubicBezTo>
                <a:lnTo>
                  <a:pt x="311288" y="664653"/>
                </a:lnTo>
                <a:lnTo>
                  <a:pt x="311288" y="715530"/>
                </a:lnTo>
                <a:lnTo>
                  <a:pt x="281921" y="715530"/>
                </a:lnTo>
                <a:close/>
                <a:moveTo>
                  <a:pt x="311288" y="639215"/>
                </a:moveTo>
                <a:lnTo>
                  <a:pt x="344570" y="639215"/>
                </a:lnTo>
                <a:cubicBezTo>
                  <a:pt x="360885" y="639215"/>
                  <a:pt x="369369" y="628779"/>
                  <a:pt x="369369" y="616386"/>
                </a:cubicBezTo>
                <a:cubicBezTo>
                  <a:pt x="369369" y="602688"/>
                  <a:pt x="360885" y="592905"/>
                  <a:pt x="344570" y="592905"/>
                </a:cubicBezTo>
                <a:lnTo>
                  <a:pt x="311288" y="592905"/>
                </a:lnTo>
                <a:lnTo>
                  <a:pt x="311288" y="639215"/>
                </a:lnTo>
                <a:close/>
                <a:moveTo>
                  <a:pt x="426144" y="641824"/>
                </a:moveTo>
                <a:cubicBezTo>
                  <a:pt x="426144" y="596818"/>
                  <a:pt x="458774" y="565510"/>
                  <a:pt x="503803" y="565510"/>
                </a:cubicBezTo>
                <a:cubicBezTo>
                  <a:pt x="548832" y="565510"/>
                  <a:pt x="581462" y="597470"/>
                  <a:pt x="581462" y="641824"/>
                </a:cubicBezTo>
                <a:cubicBezTo>
                  <a:pt x="581462" y="686830"/>
                  <a:pt x="548832" y="717486"/>
                  <a:pt x="503803" y="717486"/>
                </a:cubicBezTo>
                <a:cubicBezTo>
                  <a:pt x="458774" y="718139"/>
                  <a:pt x="426144" y="686830"/>
                  <a:pt x="426144" y="641824"/>
                </a:cubicBezTo>
                <a:close/>
                <a:moveTo>
                  <a:pt x="503803" y="690744"/>
                </a:moveTo>
                <a:cubicBezTo>
                  <a:pt x="531865" y="690744"/>
                  <a:pt x="551442" y="671176"/>
                  <a:pt x="551442" y="641824"/>
                </a:cubicBezTo>
                <a:cubicBezTo>
                  <a:pt x="551442" y="613125"/>
                  <a:pt x="531865" y="592905"/>
                  <a:pt x="503803" y="592905"/>
                </a:cubicBezTo>
                <a:cubicBezTo>
                  <a:pt x="476394" y="592905"/>
                  <a:pt x="456164" y="613125"/>
                  <a:pt x="456164" y="641824"/>
                </a:cubicBezTo>
                <a:cubicBezTo>
                  <a:pt x="456816" y="670523"/>
                  <a:pt x="476394" y="690744"/>
                  <a:pt x="503803" y="690744"/>
                </a:cubicBezTo>
                <a:close/>
                <a:moveTo>
                  <a:pt x="629754" y="667262"/>
                </a:moveTo>
                <a:cubicBezTo>
                  <a:pt x="636932" y="681612"/>
                  <a:pt x="649984" y="691396"/>
                  <a:pt x="667604" y="691396"/>
                </a:cubicBezTo>
                <a:cubicBezTo>
                  <a:pt x="681961" y="691396"/>
                  <a:pt x="693055" y="684221"/>
                  <a:pt x="693055" y="675089"/>
                </a:cubicBezTo>
                <a:cubicBezTo>
                  <a:pt x="693055" y="665305"/>
                  <a:pt x="681961" y="660087"/>
                  <a:pt x="664341" y="654217"/>
                </a:cubicBezTo>
                <a:cubicBezTo>
                  <a:pt x="635627" y="645085"/>
                  <a:pt x="612786" y="636606"/>
                  <a:pt x="612786" y="607907"/>
                </a:cubicBezTo>
                <a:cubicBezTo>
                  <a:pt x="612786" y="579859"/>
                  <a:pt x="640195" y="565510"/>
                  <a:pt x="664994" y="565510"/>
                </a:cubicBezTo>
                <a:cubicBezTo>
                  <a:pt x="691750" y="565510"/>
                  <a:pt x="710676" y="581164"/>
                  <a:pt x="719812" y="597470"/>
                </a:cubicBezTo>
                <a:lnTo>
                  <a:pt x="696971" y="613777"/>
                </a:lnTo>
                <a:cubicBezTo>
                  <a:pt x="690445" y="602688"/>
                  <a:pt x="680004" y="592252"/>
                  <a:pt x="664341" y="592252"/>
                </a:cubicBezTo>
                <a:cubicBezTo>
                  <a:pt x="652594" y="592252"/>
                  <a:pt x="642806" y="598123"/>
                  <a:pt x="642806" y="607907"/>
                </a:cubicBezTo>
                <a:cubicBezTo>
                  <a:pt x="642806" y="619647"/>
                  <a:pt x="653900" y="621604"/>
                  <a:pt x="672172" y="628127"/>
                </a:cubicBezTo>
                <a:cubicBezTo>
                  <a:pt x="700234" y="637910"/>
                  <a:pt x="723075" y="645738"/>
                  <a:pt x="723075" y="674437"/>
                </a:cubicBezTo>
                <a:cubicBezTo>
                  <a:pt x="723075" y="703789"/>
                  <a:pt x="693708" y="717486"/>
                  <a:pt x="666952" y="717486"/>
                </a:cubicBezTo>
                <a:cubicBezTo>
                  <a:pt x="638238" y="717486"/>
                  <a:pt x="616049" y="702484"/>
                  <a:pt x="607566" y="682264"/>
                </a:cubicBezTo>
                <a:lnTo>
                  <a:pt x="629754" y="667262"/>
                </a:lnTo>
                <a:close/>
                <a:moveTo>
                  <a:pt x="770714" y="667262"/>
                </a:moveTo>
                <a:cubicBezTo>
                  <a:pt x="777893" y="681612"/>
                  <a:pt x="790945" y="691396"/>
                  <a:pt x="808565" y="691396"/>
                </a:cubicBezTo>
                <a:cubicBezTo>
                  <a:pt x="822922" y="691396"/>
                  <a:pt x="834016" y="684221"/>
                  <a:pt x="834016" y="675089"/>
                </a:cubicBezTo>
                <a:cubicBezTo>
                  <a:pt x="834016" y="665305"/>
                  <a:pt x="822922" y="660087"/>
                  <a:pt x="805302" y="654217"/>
                </a:cubicBezTo>
                <a:cubicBezTo>
                  <a:pt x="776587" y="645085"/>
                  <a:pt x="753747" y="636606"/>
                  <a:pt x="753747" y="607907"/>
                </a:cubicBezTo>
                <a:cubicBezTo>
                  <a:pt x="753747" y="579859"/>
                  <a:pt x="781156" y="565510"/>
                  <a:pt x="805954" y="565510"/>
                </a:cubicBezTo>
                <a:cubicBezTo>
                  <a:pt x="832711" y="565510"/>
                  <a:pt x="851636" y="581164"/>
                  <a:pt x="860772" y="597470"/>
                </a:cubicBezTo>
                <a:lnTo>
                  <a:pt x="837931" y="613777"/>
                </a:lnTo>
                <a:cubicBezTo>
                  <a:pt x="831406" y="602688"/>
                  <a:pt x="820964" y="592252"/>
                  <a:pt x="805302" y="592252"/>
                </a:cubicBezTo>
                <a:cubicBezTo>
                  <a:pt x="793555" y="592252"/>
                  <a:pt x="783766" y="598123"/>
                  <a:pt x="783766" y="607907"/>
                </a:cubicBezTo>
                <a:cubicBezTo>
                  <a:pt x="783766" y="619647"/>
                  <a:pt x="794860" y="621604"/>
                  <a:pt x="813133" y="628127"/>
                </a:cubicBezTo>
                <a:cubicBezTo>
                  <a:pt x="841194" y="637910"/>
                  <a:pt x="864035" y="645738"/>
                  <a:pt x="864035" y="674437"/>
                </a:cubicBezTo>
                <a:cubicBezTo>
                  <a:pt x="864035" y="703789"/>
                  <a:pt x="834669" y="717486"/>
                  <a:pt x="807912" y="717486"/>
                </a:cubicBezTo>
                <a:cubicBezTo>
                  <a:pt x="779198" y="717486"/>
                  <a:pt x="757010" y="702484"/>
                  <a:pt x="748526" y="682264"/>
                </a:cubicBezTo>
                <a:lnTo>
                  <a:pt x="770714" y="667262"/>
                </a:lnTo>
                <a:close/>
                <a:moveTo>
                  <a:pt x="933863" y="715530"/>
                </a:moveTo>
                <a:lnTo>
                  <a:pt x="904496" y="715530"/>
                </a:lnTo>
                <a:lnTo>
                  <a:pt x="904496" y="567466"/>
                </a:lnTo>
                <a:lnTo>
                  <a:pt x="933863" y="567466"/>
                </a:lnTo>
                <a:lnTo>
                  <a:pt x="933863" y="715530"/>
                </a:lnTo>
                <a:close/>
                <a:moveTo>
                  <a:pt x="978892" y="567466"/>
                </a:moveTo>
                <a:lnTo>
                  <a:pt x="1047414" y="567466"/>
                </a:lnTo>
                <a:cubicBezTo>
                  <a:pt x="1074171" y="567466"/>
                  <a:pt x="1093096" y="583773"/>
                  <a:pt x="1093096" y="607907"/>
                </a:cubicBezTo>
                <a:cubicBezTo>
                  <a:pt x="1093096" y="617691"/>
                  <a:pt x="1087875" y="633345"/>
                  <a:pt x="1073518" y="638563"/>
                </a:cubicBezTo>
                <a:cubicBezTo>
                  <a:pt x="1089833" y="645085"/>
                  <a:pt x="1098316" y="658783"/>
                  <a:pt x="1098316" y="674437"/>
                </a:cubicBezTo>
                <a:cubicBezTo>
                  <a:pt x="1098316" y="698571"/>
                  <a:pt x="1079391" y="715530"/>
                  <a:pt x="1051982" y="715530"/>
                </a:cubicBezTo>
                <a:lnTo>
                  <a:pt x="978892" y="715530"/>
                </a:lnTo>
                <a:lnTo>
                  <a:pt x="978892" y="567466"/>
                </a:lnTo>
                <a:close/>
                <a:moveTo>
                  <a:pt x="1008258" y="592905"/>
                </a:moveTo>
                <a:lnTo>
                  <a:pt x="1008258" y="629431"/>
                </a:lnTo>
                <a:lnTo>
                  <a:pt x="1042846" y="629431"/>
                </a:lnTo>
                <a:cubicBezTo>
                  <a:pt x="1055245" y="629431"/>
                  <a:pt x="1062424" y="621604"/>
                  <a:pt x="1062424" y="611820"/>
                </a:cubicBezTo>
                <a:cubicBezTo>
                  <a:pt x="1062424" y="600079"/>
                  <a:pt x="1053940" y="593557"/>
                  <a:pt x="1042193" y="593557"/>
                </a:cubicBezTo>
                <a:lnTo>
                  <a:pt x="1008258" y="593557"/>
                </a:lnTo>
                <a:close/>
                <a:moveTo>
                  <a:pt x="1008258" y="652260"/>
                </a:moveTo>
                <a:lnTo>
                  <a:pt x="1008258" y="690744"/>
                </a:lnTo>
                <a:lnTo>
                  <a:pt x="1046762" y="690744"/>
                </a:lnTo>
                <a:cubicBezTo>
                  <a:pt x="1058508" y="690744"/>
                  <a:pt x="1066340" y="682917"/>
                  <a:pt x="1066340" y="672480"/>
                </a:cubicBezTo>
                <a:cubicBezTo>
                  <a:pt x="1066340" y="660087"/>
                  <a:pt x="1058508" y="652260"/>
                  <a:pt x="1046762" y="652260"/>
                </a:cubicBezTo>
                <a:lnTo>
                  <a:pt x="1008258" y="652260"/>
                </a:lnTo>
                <a:close/>
                <a:moveTo>
                  <a:pt x="1247108" y="715530"/>
                </a:moveTo>
                <a:lnTo>
                  <a:pt x="1137472" y="715530"/>
                </a:lnTo>
                <a:lnTo>
                  <a:pt x="1137472" y="567466"/>
                </a:lnTo>
                <a:lnTo>
                  <a:pt x="1166839" y="567466"/>
                </a:lnTo>
                <a:lnTo>
                  <a:pt x="1166839" y="690091"/>
                </a:lnTo>
                <a:lnTo>
                  <a:pt x="1246455" y="690091"/>
                </a:lnTo>
                <a:lnTo>
                  <a:pt x="1246455" y="715530"/>
                </a:lnTo>
                <a:close/>
                <a:moveTo>
                  <a:pt x="1281043" y="567466"/>
                </a:moveTo>
                <a:lnTo>
                  <a:pt x="1386763" y="567466"/>
                </a:lnTo>
                <a:lnTo>
                  <a:pt x="1386763" y="592905"/>
                </a:lnTo>
                <a:lnTo>
                  <a:pt x="1311062" y="592905"/>
                </a:lnTo>
                <a:lnTo>
                  <a:pt x="1311062" y="626822"/>
                </a:lnTo>
                <a:lnTo>
                  <a:pt x="1376974" y="626822"/>
                </a:lnTo>
                <a:lnTo>
                  <a:pt x="1376974" y="652260"/>
                </a:lnTo>
                <a:lnTo>
                  <a:pt x="1311062" y="652260"/>
                </a:lnTo>
                <a:lnTo>
                  <a:pt x="1311062" y="690091"/>
                </a:lnTo>
                <a:lnTo>
                  <a:pt x="1388721" y="690091"/>
                </a:lnTo>
                <a:lnTo>
                  <a:pt x="1388721" y="715530"/>
                </a:lnTo>
                <a:lnTo>
                  <a:pt x="1281696" y="715530"/>
                </a:lnTo>
                <a:lnTo>
                  <a:pt x="1281696" y="567466"/>
                </a:lnTo>
                <a:close/>
                <a:moveTo>
                  <a:pt x="1504230" y="715530"/>
                </a:moveTo>
                <a:lnTo>
                  <a:pt x="1504230" y="567466"/>
                </a:lnTo>
                <a:lnTo>
                  <a:pt x="1530987" y="567466"/>
                </a:lnTo>
                <a:lnTo>
                  <a:pt x="1613214" y="669219"/>
                </a:lnTo>
                <a:lnTo>
                  <a:pt x="1613214" y="567466"/>
                </a:lnTo>
                <a:lnTo>
                  <a:pt x="1642580" y="567466"/>
                </a:lnTo>
                <a:lnTo>
                  <a:pt x="1642580" y="715530"/>
                </a:lnTo>
                <a:lnTo>
                  <a:pt x="1615171" y="715530"/>
                </a:lnTo>
                <a:lnTo>
                  <a:pt x="1533597" y="615081"/>
                </a:lnTo>
                <a:lnTo>
                  <a:pt x="1533597" y="715530"/>
                </a:lnTo>
                <a:lnTo>
                  <a:pt x="1504230" y="715530"/>
                </a:lnTo>
                <a:close/>
                <a:moveTo>
                  <a:pt x="1682388" y="641824"/>
                </a:moveTo>
                <a:cubicBezTo>
                  <a:pt x="1682388" y="596818"/>
                  <a:pt x="1715018" y="565510"/>
                  <a:pt x="1760047" y="565510"/>
                </a:cubicBezTo>
                <a:cubicBezTo>
                  <a:pt x="1805077" y="565510"/>
                  <a:pt x="1837706" y="597470"/>
                  <a:pt x="1837706" y="641824"/>
                </a:cubicBezTo>
                <a:cubicBezTo>
                  <a:pt x="1837706" y="686830"/>
                  <a:pt x="1805077" y="717486"/>
                  <a:pt x="1760047" y="717486"/>
                </a:cubicBezTo>
                <a:cubicBezTo>
                  <a:pt x="1715018" y="718139"/>
                  <a:pt x="1682388" y="686830"/>
                  <a:pt x="1682388" y="641824"/>
                </a:cubicBezTo>
                <a:close/>
                <a:moveTo>
                  <a:pt x="1760047" y="690744"/>
                </a:moveTo>
                <a:cubicBezTo>
                  <a:pt x="1788109" y="690744"/>
                  <a:pt x="1807687" y="671176"/>
                  <a:pt x="1807687" y="641824"/>
                </a:cubicBezTo>
                <a:cubicBezTo>
                  <a:pt x="1807687" y="613125"/>
                  <a:pt x="1788109" y="592905"/>
                  <a:pt x="1760047" y="592905"/>
                </a:cubicBezTo>
                <a:cubicBezTo>
                  <a:pt x="1732638" y="592905"/>
                  <a:pt x="1712408" y="613125"/>
                  <a:pt x="1712408" y="641824"/>
                </a:cubicBezTo>
                <a:cubicBezTo>
                  <a:pt x="1712408" y="670523"/>
                  <a:pt x="1732638" y="690744"/>
                  <a:pt x="1760047" y="690744"/>
                </a:cubicBezTo>
                <a:close/>
                <a:moveTo>
                  <a:pt x="1954520" y="567466"/>
                </a:moveTo>
                <a:lnTo>
                  <a:pt x="1985845" y="567466"/>
                </a:lnTo>
                <a:lnTo>
                  <a:pt x="2033485" y="665958"/>
                </a:lnTo>
                <a:lnTo>
                  <a:pt x="2081124" y="567466"/>
                </a:lnTo>
                <a:lnTo>
                  <a:pt x="2112448" y="567466"/>
                </a:lnTo>
                <a:lnTo>
                  <a:pt x="2112448" y="715530"/>
                </a:lnTo>
                <a:lnTo>
                  <a:pt x="2083082" y="715530"/>
                </a:lnTo>
                <a:lnTo>
                  <a:pt x="2083082" y="624865"/>
                </a:lnTo>
                <a:lnTo>
                  <a:pt x="2043274" y="705746"/>
                </a:lnTo>
                <a:lnTo>
                  <a:pt x="2024348" y="705746"/>
                </a:lnTo>
                <a:lnTo>
                  <a:pt x="1984540" y="624865"/>
                </a:lnTo>
                <a:lnTo>
                  <a:pt x="1984540" y="715530"/>
                </a:lnTo>
                <a:lnTo>
                  <a:pt x="1955173" y="715530"/>
                </a:lnTo>
                <a:lnTo>
                  <a:pt x="1955173" y="567466"/>
                </a:lnTo>
                <a:close/>
                <a:moveTo>
                  <a:pt x="2152257" y="641824"/>
                </a:moveTo>
                <a:cubicBezTo>
                  <a:pt x="2152257" y="596818"/>
                  <a:pt x="2184886" y="565510"/>
                  <a:pt x="2229915" y="565510"/>
                </a:cubicBezTo>
                <a:cubicBezTo>
                  <a:pt x="2274945" y="565510"/>
                  <a:pt x="2307574" y="597470"/>
                  <a:pt x="2307574" y="641824"/>
                </a:cubicBezTo>
                <a:cubicBezTo>
                  <a:pt x="2307574" y="686830"/>
                  <a:pt x="2274945" y="717486"/>
                  <a:pt x="2229915" y="717486"/>
                </a:cubicBezTo>
                <a:cubicBezTo>
                  <a:pt x="2184886" y="718139"/>
                  <a:pt x="2152257" y="686830"/>
                  <a:pt x="2152257" y="641824"/>
                </a:cubicBezTo>
                <a:close/>
                <a:moveTo>
                  <a:pt x="2229915" y="690744"/>
                </a:moveTo>
                <a:cubicBezTo>
                  <a:pt x="2257977" y="690744"/>
                  <a:pt x="2277555" y="671176"/>
                  <a:pt x="2277555" y="641824"/>
                </a:cubicBezTo>
                <a:cubicBezTo>
                  <a:pt x="2277555" y="613125"/>
                  <a:pt x="2257977" y="592905"/>
                  <a:pt x="2229915" y="592905"/>
                </a:cubicBezTo>
                <a:cubicBezTo>
                  <a:pt x="2202506" y="592905"/>
                  <a:pt x="2182276" y="613125"/>
                  <a:pt x="2182276" y="641824"/>
                </a:cubicBezTo>
                <a:cubicBezTo>
                  <a:pt x="2182276" y="670523"/>
                  <a:pt x="2202506" y="690744"/>
                  <a:pt x="2229915" y="690744"/>
                </a:cubicBezTo>
                <a:close/>
                <a:moveTo>
                  <a:pt x="2342814" y="715530"/>
                </a:moveTo>
                <a:lnTo>
                  <a:pt x="2342814" y="567466"/>
                </a:lnTo>
                <a:lnTo>
                  <a:pt x="2408074" y="567466"/>
                </a:lnTo>
                <a:cubicBezTo>
                  <a:pt x="2440051" y="567466"/>
                  <a:pt x="2460934" y="586382"/>
                  <a:pt x="2460934" y="615081"/>
                </a:cubicBezTo>
                <a:cubicBezTo>
                  <a:pt x="2460934" y="633997"/>
                  <a:pt x="2450492" y="649651"/>
                  <a:pt x="2433525" y="656826"/>
                </a:cubicBezTo>
                <a:lnTo>
                  <a:pt x="2466807" y="715530"/>
                </a:lnTo>
                <a:lnTo>
                  <a:pt x="2434177" y="715530"/>
                </a:lnTo>
                <a:lnTo>
                  <a:pt x="2404158" y="661392"/>
                </a:lnTo>
                <a:lnTo>
                  <a:pt x="2372181" y="661392"/>
                </a:lnTo>
                <a:lnTo>
                  <a:pt x="2372181" y="714877"/>
                </a:lnTo>
                <a:lnTo>
                  <a:pt x="2342814" y="714877"/>
                </a:lnTo>
                <a:close/>
                <a:moveTo>
                  <a:pt x="2372181" y="635954"/>
                </a:moveTo>
                <a:lnTo>
                  <a:pt x="2406116" y="635954"/>
                </a:lnTo>
                <a:cubicBezTo>
                  <a:pt x="2422431" y="635954"/>
                  <a:pt x="2430914" y="626170"/>
                  <a:pt x="2430914" y="615081"/>
                </a:cubicBezTo>
                <a:cubicBezTo>
                  <a:pt x="2430914" y="602688"/>
                  <a:pt x="2422431" y="592905"/>
                  <a:pt x="2406116" y="592905"/>
                </a:cubicBezTo>
                <a:lnTo>
                  <a:pt x="2372181" y="592905"/>
                </a:lnTo>
                <a:lnTo>
                  <a:pt x="2372181" y="635954"/>
                </a:lnTo>
                <a:close/>
                <a:moveTo>
                  <a:pt x="2503353" y="567466"/>
                </a:moveTo>
                <a:lnTo>
                  <a:pt x="2609073" y="567466"/>
                </a:lnTo>
                <a:lnTo>
                  <a:pt x="2609073" y="592905"/>
                </a:lnTo>
                <a:lnTo>
                  <a:pt x="2533372" y="592905"/>
                </a:lnTo>
                <a:lnTo>
                  <a:pt x="2533372" y="626822"/>
                </a:lnTo>
                <a:lnTo>
                  <a:pt x="2598631" y="626822"/>
                </a:lnTo>
                <a:lnTo>
                  <a:pt x="2598631" y="652260"/>
                </a:lnTo>
                <a:lnTo>
                  <a:pt x="2532719" y="652260"/>
                </a:lnTo>
                <a:lnTo>
                  <a:pt x="2532719" y="690091"/>
                </a:lnTo>
                <a:lnTo>
                  <a:pt x="2610378" y="690091"/>
                </a:lnTo>
                <a:lnTo>
                  <a:pt x="2610378" y="715530"/>
                </a:lnTo>
                <a:lnTo>
                  <a:pt x="2503353" y="715530"/>
                </a:lnTo>
                <a:lnTo>
                  <a:pt x="2503353" y="567466"/>
                </a:lnTo>
                <a:close/>
              </a:path>
            </a:pathLst>
          </a:custGeom>
          <a:solidFill>
            <a:schemeClr val="tx1"/>
          </a:solidFill>
          <a:ln w="6526" cap="flat">
            <a:noFill/>
            <a:prstDash val="solid"/>
            <a:miter/>
          </a:ln>
        </p:spPr>
        <p:txBody>
          <a:bodyPr rtlCol="0" anchor="ctr"/>
          <a:lstStyle/>
          <a:p>
            <a:pPr marL="0" indent="0">
              <a:tabLst>
                <a:tab pos="755650" algn="l"/>
              </a:tabLst>
            </a:pPr>
            <a:endParaRPr lang="en-US" b="0" i="0" dirty="0">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Content Placeholder 29">
            <a:extLst>
              <a:ext uri="{FF2B5EF4-FFF2-40B4-BE49-F238E27FC236}">
                <a16:creationId xmlns:a16="http://schemas.microsoft.com/office/drawing/2014/main" id="{C529C196-ED00-BC04-8775-5FEF575AC910}"/>
              </a:ext>
            </a:extLst>
          </p:cNvPr>
          <p:cNvSpPr>
            <a:spLocks noGrp="1"/>
          </p:cNvSpPr>
          <p:nvPr>
            <p:ph sz="quarter" idx="12" hasCustomPrompt="1"/>
          </p:nvPr>
        </p:nvSpPr>
        <p:spPr>
          <a:xfrm>
            <a:off x="561124" y="5325295"/>
            <a:ext cx="2952750" cy="969963"/>
          </a:xfrm>
          <a:prstGeom prst="rect">
            <a:avLst/>
          </a:prstGeom>
        </p:spPr>
        <p:txBody>
          <a:bodyPr/>
          <a:lstStyle>
            <a:lvl1pPr>
              <a:defRPr>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CLIENT LOGO HERE</a:t>
            </a:r>
          </a:p>
          <a:p>
            <a:pPr lvl="0"/>
            <a:r>
              <a:rPr lang="en-US" dirty="0"/>
              <a:t>(Optional)</a:t>
            </a:r>
          </a:p>
        </p:txBody>
      </p:sp>
      <p:sp>
        <p:nvSpPr>
          <p:cNvPr id="14" name="Title 11">
            <a:extLst>
              <a:ext uri="{FF2B5EF4-FFF2-40B4-BE49-F238E27FC236}">
                <a16:creationId xmlns:a16="http://schemas.microsoft.com/office/drawing/2014/main" id="{30315D17-E317-969F-3EE5-A7D5ECD2302A}"/>
              </a:ext>
            </a:extLst>
          </p:cNvPr>
          <p:cNvSpPr>
            <a:spLocks noGrp="1"/>
          </p:cNvSpPr>
          <p:nvPr>
            <p:ph type="title" hasCustomPrompt="1"/>
          </p:nvPr>
        </p:nvSpPr>
        <p:spPr>
          <a:xfrm>
            <a:off x="552449" y="2791323"/>
            <a:ext cx="5810252" cy="470963"/>
          </a:xfrm>
        </p:spPr>
        <p:txBody>
          <a:bodyPr vert="horz" wrap="square" lIns="0" tIns="0" rIns="0" bIns="0" rtlCol="0" anchor="t" anchorCtr="0">
            <a:spAutoFit/>
          </a:bodyPr>
          <a:lstStyle>
            <a:lvl1pPr>
              <a:defRPr lang="en-GB" sz="3600" b="1"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pPr>
            <a:r>
              <a:rPr lang="en-GB" dirty="0"/>
              <a:t>Title, aim for one line </a:t>
            </a:r>
          </a:p>
        </p:txBody>
      </p:sp>
      <p:sp>
        <p:nvSpPr>
          <p:cNvPr id="15" name="Text Placeholder 16">
            <a:extLst>
              <a:ext uri="{FF2B5EF4-FFF2-40B4-BE49-F238E27FC236}">
                <a16:creationId xmlns:a16="http://schemas.microsoft.com/office/drawing/2014/main" id="{B5C3302E-3F8A-FE27-84B3-4652768C0301}"/>
              </a:ext>
            </a:extLst>
          </p:cNvPr>
          <p:cNvSpPr>
            <a:spLocks noGrp="1"/>
          </p:cNvSpPr>
          <p:nvPr>
            <p:ph type="body" sz="quarter" idx="13" hasCustomPrompt="1"/>
          </p:nvPr>
        </p:nvSpPr>
        <p:spPr>
          <a:xfrm>
            <a:off x="561124" y="3445525"/>
            <a:ext cx="5801103" cy="720725"/>
          </a:xfrm>
          <a:prstGeom prst="rect">
            <a:avLst/>
          </a:prstGeom>
        </p:spPr>
        <p:txBody>
          <a:bodyPr lIns="0" tIns="0" rIns="0"/>
          <a:lstStyle>
            <a:lvl1pPr>
              <a:defRPr sz="24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 one or two lines</a:t>
            </a:r>
          </a:p>
        </p:txBody>
      </p:sp>
      <p:sp>
        <p:nvSpPr>
          <p:cNvPr id="16" name="Text Placeholder 16">
            <a:extLst>
              <a:ext uri="{FF2B5EF4-FFF2-40B4-BE49-F238E27FC236}">
                <a16:creationId xmlns:a16="http://schemas.microsoft.com/office/drawing/2014/main" id="{5BE662CF-AAFB-A1BA-CF7F-5CE6202DCC97}"/>
              </a:ext>
            </a:extLst>
          </p:cNvPr>
          <p:cNvSpPr>
            <a:spLocks noGrp="1"/>
          </p:cNvSpPr>
          <p:nvPr>
            <p:ph type="body" sz="quarter" idx="14" hasCustomPrompt="1"/>
          </p:nvPr>
        </p:nvSpPr>
        <p:spPr>
          <a:xfrm>
            <a:off x="561124" y="4191266"/>
            <a:ext cx="3112893" cy="354515"/>
          </a:xfrm>
          <a:prstGeom prst="rect">
            <a:avLst/>
          </a:prstGeom>
        </p:spPr>
        <p:txBody>
          <a:bodyPr lIns="0" tIns="0" rIns="0"/>
          <a:lstStyle>
            <a:lvl1pPr>
              <a:defRPr sz="18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351316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slide - Image - Dark">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381119C-646E-27FB-4978-EB720297A8F4}"/>
              </a:ext>
            </a:extLst>
          </p:cNvPr>
          <p:cNvGraphicFramePr>
            <a:graphicFrameLocks noChangeAspect="1"/>
          </p:cNvGraphicFramePr>
          <p:nvPr userDrawn="1">
            <p:custDataLst>
              <p:tags r:id="rId1"/>
            </p:custDataLst>
            <p:extLst>
              <p:ext uri="{D42A27DB-BD31-4B8C-83A1-F6EECF244321}">
                <p14:modId xmlns:p14="http://schemas.microsoft.com/office/powerpoint/2010/main" val="2717180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1" name="think-cell data - do not delete" hidden="1">
                        <a:extLst>
                          <a:ext uri="{FF2B5EF4-FFF2-40B4-BE49-F238E27FC236}">
                            <a16:creationId xmlns:a16="http://schemas.microsoft.com/office/drawing/2014/main" id="{7381119C-646E-27FB-4978-EB720297A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raphic 43">
            <a:extLst>
              <a:ext uri="{FF2B5EF4-FFF2-40B4-BE49-F238E27FC236}">
                <a16:creationId xmlns:a16="http://schemas.microsoft.com/office/drawing/2014/main" id="{54B9D043-F579-845F-11A0-2C52ABB0330E}"/>
              </a:ext>
            </a:extLst>
          </p:cNvPr>
          <p:cNvSpPr>
            <a:spLocks noChangeAspect="1"/>
          </p:cNvSpPr>
          <p:nvPr userDrawn="1"/>
        </p:nvSpPr>
        <p:spPr>
          <a:xfrm>
            <a:off x="690880" y="6228000"/>
            <a:ext cx="1440000" cy="396112"/>
          </a:xfrm>
          <a:custGeom>
            <a:avLst/>
            <a:gdLst>
              <a:gd name="connsiteX0" fmla="*/ 219924 w 2610377"/>
              <a:gd name="connsiteY0" fmla="*/ 234161 h 717496"/>
              <a:gd name="connsiteX1" fmla="*/ 308677 w 2610377"/>
              <a:gd name="connsiteY1" fmla="*/ 120016 h 717496"/>
              <a:gd name="connsiteX2" fmla="*/ 173590 w 2610377"/>
              <a:gd name="connsiteY2" fmla="*/ 0 h 717496"/>
              <a:gd name="connsiteX3" fmla="*/ 653 w 2610377"/>
              <a:gd name="connsiteY3" fmla="*/ 0 h 717496"/>
              <a:gd name="connsiteX4" fmla="*/ 653 w 2610377"/>
              <a:gd name="connsiteY4" fmla="*/ 404401 h 717496"/>
              <a:gd name="connsiteX5" fmla="*/ 49597 w 2610377"/>
              <a:gd name="connsiteY5" fmla="*/ 404401 h 717496"/>
              <a:gd name="connsiteX6" fmla="*/ 49597 w 2610377"/>
              <a:gd name="connsiteY6" fmla="*/ 240032 h 717496"/>
              <a:gd name="connsiteX7" fmla="*/ 167064 w 2610377"/>
              <a:gd name="connsiteY7" fmla="*/ 240032 h 717496"/>
              <a:gd name="connsiteX8" fmla="*/ 262343 w 2610377"/>
              <a:gd name="connsiteY8" fmla="*/ 404401 h 717496"/>
              <a:gd name="connsiteX9" fmla="*/ 320424 w 2610377"/>
              <a:gd name="connsiteY9" fmla="*/ 404401 h 717496"/>
              <a:gd name="connsiteX10" fmla="*/ 219924 w 2610377"/>
              <a:gd name="connsiteY10" fmla="*/ 234161 h 717496"/>
              <a:gd name="connsiteX11" fmla="*/ 49597 w 2610377"/>
              <a:gd name="connsiteY11" fmla="*/ 196330 h 717496"/>
              <a:gd name="connsiteX12" fmla="*/ 49597 w 2610377"/>
              <a:gd name="connsiteY12" fmla="*/ 45006 h 717496"/>
              <a:gd name="connsiteX13" fmla="*/ 170980 w 2610377"/>
              <a:gd name="connsiteY13" fmla="*/ 45006 h 717496"/>
              <a:gd name="connsiteX14" fmla="*/ 256470 w 2610377"/>
              <a:gd name="connsiteY14" fmla="*/ 120668 h 717496"/>
              <a:gd name="connsiteX15" fmla="*/ 170980 w 2610377"/>
              <a:gd name="connsiteY15" fmla="*/ 196983 h 717496"/>
              <a:gd name="connsiteX16" fmla="*/ 49597 w 2610377"/>
              <a:gd name="connsiteY16" fmla="*/ 196983 h 717496"/>
              <a:gd name="connsiteX17" fmla="*/ 1414825 w 2610377"/>
              <a:gd name="connsiteY17" fmla="*/ 652 h 717496"/>
              <a:gd name="connsiteX18" fmla="*/ 1465075 w 2610377"/>
              <a:gd name="connsiteY18" fmla="*/ 652 h 717496"/>
              <a:gd name="connsiteX19" fmla="*/ 1344997 w 2610377"/>
              <a:gd name="connsiteY19" fmla="*/ 405054 h 717496"/>
              <a:gd name="connsiteX20" fmla="*/ 1273212 w 2610377"/>
              <a:gd name="connsiteY20" fmla="*/ 405054 h 717496"/>
              <a:gd name="connsiteX21" fmla="*/ 1172712 w 2610377"/>
              <a:gd name="connsiteY21" fmla="*/ 75662 h 717496"/>
              <a:gd name="connsiteX22" fmla="*/ 1072213 w 2610377"/>
              <a:gd name="connsiteY22" fmla="*/ 405054 h 717496"/>
              <a:gd name="connsiteX23" fmla="*/ 1000427 w 2610377"/>
              <a:gd name="connsiteY23" fmla="*/ 405054 h 717496"/>
              <a:gd name="connsiteX24" fmla="*/ 880350 w 2610377"/>
              <a:gd name="connsiteY24" fmla="*/ 652 h 717496"/>
              <a:gd name="connsiteX25" fmla="*/ 930600 w 2610377"/>
              <a:gd name="connsiteY25" fmla="*/ 652 h 717496"/>
              <a:gd name="connsiteX26" fmla="*/ 1036973 w 2610377"/>
              <a:gd name="connsiteY26" fmla="*/ 354830 h 717496"/>
              <a:gd name="connsiteX27" fmla="*/ 1146609 w 2610377"/>
              <a:gd name="connsiteY27" fmla="*/ 3914 h 717496"/>
              <a:gd name="connsiteX28" fmla="*/ 1198816 w 2610377"/>
              <a:gd name="connsiteY28" fmla="*/ 3914 h 717496"/>
              <a:gd name="connsiteX29" fmla="*/ 1308452 w 2610377"/>
              <a:gd name="connsiteY29" fmla="*/ 354830 h 717496"/>
              <a:gd name="connsiteX30" fmla="*/ 1414825 w 2610377"/>
              <a:gd name="connsiteY30" fmla="*/ 652 h 717496"/>
              <a:gd name="connsiteX31" fmla="*/ 1621697 w 2610377"/>
              <a:gd name="connsiteY31" fmla="*/ 652 h 717496"/>
              <a:gd name="connsiteX32" fmla="*/ 1670642 w 2610377"/>
              <a:gd name="connsiteY32" fmla="*/ 652 h 717496"/>
              <a:gd name="connsiteX33" fmla="*/ 1670642 w 2610377"/>
              <a:gd name="connsiteY33" fmla="*/ 405054 h 717496"/>
              <a:gd name="connsiteX34" fmla="*/ 1621697 w 2610377"/>
              <a:gd name="connsiteY34" fmla="*/ 405054 h 717496"/>
              <a:gd name="connsiteX35" fmla="*/ 1621697 w 2610377"/>
              <a:gd name="connsiteY35" fmla="*/ 652 h 717496"/>
              <a:gd name="connsiteX36" fmla="*/ 752442 w 2610377"/>
              <a:gd name="connsiteY36" fmla="*/ 405054 h 717496"/>
              <a:gd name="connsiteX37" fmla="*/ 467910 w 2610377"/>
              <a:gd name="connsiteY37" fmla="*/ 405054 h 717496"/>
              <a:gd name="connsiteX38" fmla="*/ 467910 w 2610377"/>
              <a:gd name="connsiteY38" fmla="*/ 652 h 717496"/>
              <a:gd name="connsiteX39" fmla="*/ 745916 w 2610377"/>
              <a:gd name="connsiteY39" fmla="*/ 652 h 717496"/>
              <a:gd name="connsiteX40" fmla="*/ 745916 w 2610377"/>
              <a:gd name="connsiteY40" fmla="*/ 45006 h 717496"/>
              <a:gd name="connsiteX41" fmla="*/ 516855 w 2610377"/>
              <a:gd name="connsiteY41" fmla="*/ 45006 h 717496"/>
              <a:gd name="connsiteX42" fmla="*/ 516855 w 2610377"/>
              <a:gd name="connsiteY42" fmla="*/ 174806 h 717496"/>
              <a:gd name="connsiteX43" fmla="*/ 714591 w 2610377"/>
              <a:gd name="connsiteY43" fmla="*/ 174806 h 717496"/>
              <a:gd name="connsiteX44" fmla="*/ 714591 w 2610377"/>
              <a:gd name="connsiteY44" fmla="*/ 219159 h 717496"/>
              <a:gd name="connsiteX45" fmla="*/ 516855 w 2610377"/>
              <a:gd name="connsiteY45" fmla="*/ 219159 h 717496"/>
              <a:gd name="connsiteX46" fmla="*/ 516855 w 2610377"/>
              <a:gd name="connsiteY46" fmla="*/ 360048 h 717496"/>
              <a:gd name="connsiteX47" fmla="*/ 752442 w 2610377"/>
              <a:gd name="connsiteY47" fmla="*/ 360048 h 717496"/>
              <a:gd name="connsiteX48" fmla="*/ 752442 w 2610377"/>
              <a:gd name="connsiteY48" fmla="*/ 405054 h 717496"/>
              <a:gd name="connsiteX49" fmla="*/ 2077861 w 2610377"/>
              <a:gd name="connsiteY49" fmla="*/ 234161 h 717496"/>
              <a:gd name="connsiteX50" fmla="*/ 2166614 w 2610377"/>
              <a:gd name="connsiteY50" fmla="*/ 120016 h 717496"/>
              <a:gd name="connsiteX51" fmla="*/ 2031527 w 2610377"/>
              <a:gd name="connsiteY51" fmla="*/ 0 h 717496"/>
              <a:gd name="connsiteX52" fmla="*/ 1858589 w 2610377"/>
              <a:gd name="connsiteY52" fmla="*/ 0 h 717496"/>
              <a:gd name="connsiteX53" fmla="*/ 1858589 w 2610377"/>
              <a:gd name="connsiteY53" fmla="*/ 404401 h 717496"/>
              <a:gd name="connsiteX54" fmla="*/ 1907534 w 2610377"/>
              <a:gd name="connsiteY54" fmla="*/ 404401 h 717496"/>
              <a:gd name="connsiteX55" fmla="*/ 1907534 w 2610377"/>
              <a:gd name="connsiteY55" fmla="*/ 240032 h 717496"/>
              <a:gd name="connsiteX56" fmla="*/ 2025001 w 2610377"/>
              <a:gd name="connsiteY56" fmla="*/ 240032 h 717496"/>
              <a:gd name="connsiteX57" fmla="*/ 2120280 w 2610377"/>
              <a:gd name="connsiteY57" fmla="*/ 404401 h 717496"/>
              <a:gd name="connsiteX58" fmla="*/ 2178360 w 2610377"/>
              <a:gd name="connsiteY58" fmla="*/ 404401 h 717496"/>
              <a:gd name="connsiteX59" fmla="*/ 2077861 w 2610377"/>
              <a:gd name="connsiteY59" fmla="*/ 234161 h 717496"/>
              <a:gd name="connsiteX60" fmla="*/ 1907534 w 2610377"/>
              <a:gd name="connsiteY60" fmla="*/ 196330 h 717496"/>
              <a:gd name="connsiteX61" fmla="*/ 1907534 w 2610377"/>
              <a:gd name="connsiteY61" fmla="*/ 45006 h 717496"/>
              <a:gd name="connsiteX62" fmla="*/ 2029569 w 2610377"/>
              <a:gd name="connsiteY62" fmla="*/ 45006 h 717496"/>
              <a:gd name="connsiteX63" fmla="*/ 2115059 w 2610377"/>
              <a:gd name="connsiteY63" fmla="*/ 120668 h 717496"/>
              <a:gd name="connsiteX64" fmla="*/ 2029569 w 2610377"/>
              <a:gd name="connsiteY64" fmla="*/ 196983 h 717496"/>
              <a:gd name="connsiteX65" fmla="*/ 1907534 w 2610377"/>
              <a:gd name="connsiteY65" fmla="*/ 196983 h 717496"/>
              <a:gd name="connsiteX66" fmla="*/ 2610378 w 2610377"/>
              <a:gd name="connsiteY66" fmla="*/ 652 h 717496"/>
              <a:gd name="connsiteX67" fmla="*/ 2610378 w 2610377"/>
              <a:gd name="connsiteY67" fmla="*/ 405054 h 717496"/>
              <a:gd name="connsiteX68" fmla="*/ 2325847 w 2610377"/>
              <a:gd name="connsiteY68" fmla="*/ 405054 h 717496"/>
              <a:gd name="connsiteX69" fmla="*/ 2325847 w 2610377"/>
              <a:gd name="connsiteY69" fmla="*/ 360700 h 717496"/>
              <a:gd name="connsiteX70" fmla="*/ 2561433 w 2610377"/>
              <a:gd name="connsiteY70" fmla="*/ 360700 h 717496"/>
              <a:gd name="connsiteX71" fmla="*/ 2561433 w 2610377"/>
              <a:gd name="connsiteY71" fmla="*/ 219812 h 717496"/>
              <a:gd name="connsiteX72" fmla="*/ 2363697 w 2610377"/>
              <a:gd name="connsiteY72" fmla="*/ 219812 h 717496"/>
              <a:gd name="connsiteX73" fmla="*/ 2363697 w 2610377"/>
              <a:gd name="connsiteY73" fmla="*/ 175458 h 717496"/>
              <a:gd name="connsiteX74" fmla="*/ 2561433 w 2610377"/>
              <a:gd name="connsiteY74" fmla="*/ 175458 h 717496"/>
              <a:gd name="connsiteX75" fmla="*/ 2561433 w 2610377"/>
              <a:gd name="connsiteY75" fmla="*/ 45658 h 717496"/>
              <a:gd name="connsiteX76" fmla="*/ 2332373 w 2610377"/>
              <a:gd name="connsiteY76" fmla="*/ 45658 h 717496"/>
              <a:gd name="connsiteX77" fmla="*/ 2332373 w 2610377"/>
              <a:gd name="connsiteY77" fmla="*/ 1305 h 717496"/>
              <a:gd name="connsiteX78" fmla="*/ 2610378 w 2610377"/>
              <a:gd name="connsiteY78" fmla="*/ 1305 h 717496"/>
              <a:gd name="connsiteX79" fmla="*/ 29367 w 2610377"/>
              <a:gd name="connsiteY79" fmla="*/ 715530 h 717496"/>
              <a:gd name="connsiteX80" fmla="*/ 0 w 2610377"/>
              <a:gd name="connsiteY80" fmla="*/ 715530 h 717496"/>
              <a:gd name="connsiteX81" fmla="*/ 0 w 2610377"/>
              <a:gd name="connsiteY81" fmla="*/ 567466 h 717496"/>
              <a:gd name="connsiteX82" fmla="*/ 29367 w 2610377"/>
              <a:gd name="connsiteY82" fmla="*/ 567466 h 717496"/>
              <a:gd name="connsiteX83" fmla="*/ 29367 w 2610377"/>
              <a:gd name="connsiteY83" fmla="*/ 715530 h 717496"/>
              <a:gd name="connsiteX84" fmla="*/ 78964 w 2610377"/>
              <a:gd name="connsiteY84" fmla="*/ 567466 h 717496"/>
              <a:gd name="connsiteX85" fmla="*/ 110289 w 2610377"/>
              <a:gd name="connsiteY85" fmla="*/ 567466 h 717496"/>
              <a:gd name="connsiteX86" fmla="*/ 157928 w 2610377"/>
              <a:gd name="connsiteY86" fmla="*/ 665958 h 717496"/>
              <a:gd name="connsiteX87" fmla="*/ 205567 w 2610377"/>
              <a:gd name="connsiteY87" fmla="*/ 567466 h 717496"/>
              <a:gd name="connsiteX88" fmla="*/ 236892 w 2610377"/>
              <a:gd name="connsiteY88" fmla="*/ 567466 h 717496"/>
              <a:gd name="connsiteX89" fmla="*/ 236892 w 2610377"/>
              <a:gd name="connsiteY89" fmla="*/ 715530 h 717496"/>
              <a:gd name="connsiteX90" fmla="*/ 207525 w 2610377"/>
              <a:gd name="connsiteY90" fmla="*/ 715530 h 717496"/>
              <a:gd name="connsiteX91" fmla="*/ 207525 w 2610377"/>
              <a:gd name="connsiteY91" fmla="*/ 624865 h 717496"/>
              <a:gd name="connsiteX92" fmla="*/ 167717 w 2610377"/>
              <a:gd name="connsiteY92" fmla="*/ 705746 h 717496"/>
              <a:gd name="connsiteX93" fmla="*/ 148792 w 2610377"/>
              <a:gd name="connsiteY93" fmla="*/ 705746 h 717496"/>
              <a:gd name="connsiteX94" fmla="*/ 108983 w 2610377"/>
              <a:gd name="connsiteY94" fmla="*/ 624865 h 717496"/>
              <a:gd name="connsiteX95" fmla="*/ 108983 w 2610377"/>
              <a:gd name="connsiteY95" fmla="*/ 715530 h 717496"/>
              <a:gd name="connsiteX96" fmla="*/ 79617 w 2610377"/>
              <a:gd name="connsiteY96" fmla="*/ 715530 h 717496"/>
              <a:gd name="connsiteX97" fmla="*/ 79617 w 2610377"/>
              <a:gd name="connsiteY97" fmla="*/ 567466 h 717496"/>
              <a:gd name="connsiteX98" fmla="*/ 281921 w 2610377"/>
              <a:gd name="connsiteY98" fmla="*/ 715530 h 717496"/>
              <a:gd name="connsiteX99" fmla="*/ 281921 w 2610377"/>
              <a:gd name="connsiteY99" fmla="*/ 567466 h 717496"/>
              <a:gd name="connsiteX100" fmla="*/ 346528 w 2610377"/>
              <a:gd name="connsiteY100" fmla="*/ 567466 h 717496"/>
              <a:gd name="connsiteX101" fmla="*/ 399388 w 2610377"/>
              <a:gd name="connsiteY101" fmla="*/ 616386 h 717496"/>
              <a:gd name="connsiteX102" fmla="*/ 346528 w 2610377"/>
              <a:gd name="connsiteY102" fmla="*/ 664653 h 717496"/>
              <a:gd name="connsiteX103" fmla="*/ 311288 w 2610377"/>
              <a:gd name="connsiteY103" fmla="*/ 664653 h 717496"/>
              <a:gd name="connsiteX104" fmla="*/ 311288 w 2610377"/>
              <a:gd name="connsiteY104" fmla="*/ 715530 h 717496"/>
              <a:gd name="connsiteX105" fmla="*/ 281921 w 2610377"/>
              <a:gd name="connsiteY105" fmla="*/ 715530 h 717496"/>
              <a:gd name="connsiteX106" fmla="*/ 311288 w 2610377"/>
              <a:gd name="connsiteY106" fmla="*/ 639215 h 717496"/>
              <a:gd name="connsiteX107" fmla="*/ 344570 w 2610377"/>
              <a:gd name="connsiteY107" fmla="*/ 639215 h 717496"/>
              <a:gd name="connsiteX108" fmla="*/ 369369 w 2610377"/>
              <a:gd name="connsiteY108" fmla="*/ 616386 h 717496"/>
              <a:gd name="connsiteX109" fmla="*/ 344570 w 2610377"/>
              <a:gd name="connsiteY109" fmla="*/ 592905 h 717496"/>
              <a:gd name="connsiteX110" fmla="*/ 311288 w 2610377"/>
              <a:gd name="connsiteY110" fmla="*/ 592905 h 717496"/>
              <a:gd name="connsiteX111" fmla="*/ 311288 w 2610377"/>
              <a:gd name="connsiteY111" fmla="*/ 639215 h 717496"/>
              <a:gd name="connsiteX112" fmla="*/ 426144 w 2610377"/>
              <a:gd name="connsiteY112" fmla="*/ 641824 h 717496"/>
              <a:gd name="connsiteX113" fmla="*/ 503803 w 2610377"/>
              <a:gd name="connsiteY113" fmla="*/ 565510 h 717496"/>
              <a:gd name="connsiteX114" fmla="*/ 581462 w 2610377"/>
              <a:gd name="connsiteY114" fmla="*/ 641824 h 717496"/>
              <a:gd name="connsiteX115" fmla="*/ 503803 w 2610377"/>
              <a:gd name="connsiteY115" fmla="*/ 717486 h 717496"/>
              <a:gd name="connsiteX116" fmla="*/ 426144 w 2610377"/>
              <a:gd name="connsiteY116" fmla="*/ 641824 h 717496"/>
              <a:gd name="connsiteX117" fmla="*/ 503803 w 2610377"/>
              <a:gd name="connsiteY117" fmla="*/ 690744 h 717496"/>
              <a:gd name="connsiteX118" fmla="*/ 551442 w 2610377"/>
              <a:gd name="connsiteY118" fmla="*/ 641824 h 717496"/>
              <a:gd name="connsiteX119" fmla="*/ 503803 w 2610377"/>
              <a:gd name="connsiteY119" fmla="*/ 592905 h 717496"/>
              <a:gd name="connsiteX120" fmla="*/ 456164 w 2610377"/>
              <a:gd name="connsiteY120" fmla="*/ 641824 h 717496"/>
              <a:gd name="connsiteX121" fmla="*/ 503803 w 2610377"/>
              <a:gd name="connsiteY121" fmla="*/ 690744 h 717496"/>
              <a:gd name="connsiteX122" fmla="*/ 629754 w 2610377"/>
              <a:gd name="connsiteY122" fmla="*/ 667262 h 717496"/>
              <a:gd name="connsiteX123" fmla="*/ 667604 w 2610377"/>
              <a:gd name="connsiteY123" fmla="*/ 691396 h 717496"/>
              <a:gd name="connsiteX124" fmla="*/ 693055 w 2610377"/>
              <a:gd name="connsiteY124" fmla="*/ 675089 h 717496"/>
              <a:gd name="connsiteX125" fmla="*/ 664341 w 2610377"/>
              <a:gd name="connsiteY125" fmla="*/ 654217 h 717496"/>
              <a:gd name="connsiteX126" fmla="*/ 612786 w 2610377"/>
              <a:gd name="connsiteY126" fmla="*/ 607907 h 717496"/>
              <a:gd name="connsiteX127" fmla="*/ 664994 w 2610377"/>
              <a:gd name="connsiteY127" fmla="*/ 565510 h 717496"/>
              <a:gd name="connsiteX128" fmla="*/ 719812 w 2610377"/>
              <a:gd name="connsiteY128" fmla="*/ 597470 h 717496"/>
              <a:gd name="connsiteX129" fmla="*/ 696971 w 2610377"/>
              <a:gd name="connsiteY129" fmla="*/ 613777 h 717496"/>
              <a:gd name="connsiteX130" fmla="*/ 664341 w 2610377"/>
              <a:gd name="connsiteY130" fmla="*/ 592252 h 717496"/>
              <a:gd name="connsiteX131" fmla="*/ 642806 w 2610377"/>
              <a:gd name="connsiteY131" fmla="*/ 607907 h 717496"/>
              <a:gd name="connsiteX132" fmla="*/ 672172 w 2610377"/>
              <a:gd name="connsiteY132" fmla="*/ 628127 h 717496"/>
              <a:gd name="connsiteX133" fmla="*/ 723075 w 2610377"/>
              <a:gd name="connsiteY133" fmla="*/ 674437 h 717496"/>
              <a:gd name="connsiteX134" fmla="*/ 666952 w 2610377"/>
              <a:gd name="connsiteY134" fmla="*/ 717486 h 717496"/>
              <a:gd name="connsiteX135" fmla="*/ 607566 w 2610377"/>
              <a:gd name="connsiteY135" fmla="*/ 682264 h 717496"/>
              <a:gd name="connsiteX136" fmla="*/ 629754 w 2610377"/>
              <a:gd name="connsiteY136" fmla="*/ 667262 h 717496"/>
              <a:gd name="connsiteX137" fmla="*/ 770714 w 2610377"/>
              <a:gd name="connsiteY137" fmla="*/ 667262 h 717496"/>
              <a:gd name="connsiteX138" fmla="*/ 808565 w 2610377"/>
              <a:gd name="connsiteY138" fmla="*/ 691396 h 717496"/>
              <a:gd name="connsiteX139" fmla="*/ 834016 w 2610377"/>
              <a:gd name="connsiteY139" fmla="*/ 675089 h 717496"/>
              <a:gd name="connsiteX140" fmla="*/ 805302 w 2610377"/>
              <a:gd name="connsiteY140" fmla="*/ 654217 h 717496"/>
              <a:gd name="connsiteX141" fmla="*/ 753747 w 2610377"/>
              <a:gd name="connsiteY141" fmla="*/ 607907 h 717496"/>
              <a:gd name="connsiteX142" fmla="*/ 805954 w 2610377"/>
              <a:gd name="connsiteY142" fmla="*/ 565510 h 717496"/>
              <a:gd name="connsiteX143" fmla="*/ 860772 w 2610377"/>
              <a:gd name="connsiteY143" fmla="*/ 597470 h 717496"/>
              <a:gd name="connsiteX144" fmla="*/ 837931 w 2610377"/>
              <a:gd name="connsiteY144" fmla="*/ 613777 h 717496"/>
              <a:gd name="connsiteX145" fmla="*/ 805302 w 2610377"/>
              <a:gd name="connsiteY145" fmla="*/ 592252 h 717496"/>
              <a:gd name="connsiteX146" fmla="*/ 783766 w 2610377"/>
              <a:gd name="connsiteY146" fmla="*/ 607907 h 717496"/>
              <a:gd name="connsiteX147" fmla="*/ 813133 w 2610377"/>
              <a:gd name="connsiteY147" fmla="*/ 628127 h 717496"/>
              <a:gd name="connsiteX148" fmla="*/ 864035 w 2610377"/>
              <a:gd name="connsiteY148" fmla="*/ 674437 h 717496"/>
              <a:gd name="connsiteX149" fmla="*/ 807912 w 2610377"/>
              <a:gd name="connsiteY149" fmla="*/ 717486 h 717496"/>
              <a:gd name="connsiteX150" fmla="*/ 748526 w 2610377"/>
              <a:gd name="connsiteY150" fmla="*/ 682264 h 717496"/>
              <a:gd name="connsiteX151" fmla="*/ 770714 w 2610377"/>
              <a:gd name="connsiteY151" fmla="*/ 667262 h 717496"/>
              <a:gd name="connsiteX152" fmla="*/ 933863 w 2610377"/>
              <a:gd name="connsiteY152" fmla="*/ 715530 h 717496"/>
              <a:gd name="connsiteX153" fmla="*/ 904496 w 2610377"/>
              <a:gd name="connsiteY153" fmla="*/ 715530 h 717496"/>
              <a:gd name="connsiteX154" fmla="*/ 904496 w 2610377"/>
              <a:gd name="connsiteY154" fmla="*/ 567466 h 717496"/>
              <a:gd name="connsiteX155" fmla="*/ 933863 w 2610377"/>
              <a:gd name="connsiteY155" fmla="*/ 567466 h 717496"/>
              <a:gd name="connsiteX156" fmla="*/ 933863 w 2610377"/>
              <a:gd name="connsiteY156" fmla="*/ 715530 h 717496"/>
              <a:gd name="connsiteX157" fmla="*/ 978892 w 2610377"/>
              <a:gd name="connsiteY157" fmla="*/ 567466 h 717496"/>
              <a:gd name="connsiteX158" fmla="*/ 1047414 w 2610377"/>
              <a:gd name="connsiteY158" fmla="*/ 567466 h 717496"/>
              <a:gd name="connsiteX159" fmla="*/ 1093096 w 2610377"/>
              <a:gd name="connsiteY159" fmla="*/ 607907 h 717496"/>
              <a:gd name="connsiteX160" fmla="*/ 1073518 w 2610377"/>
              <a:gd name="connsiteY160" fmla="*/ 638563 h 717496"/>
              <a:gd name="connsiteX161" fmla="*/ 1098316 w 2610377"/>
              <a:gd name="connsiteY161" fmla="*/ 674437 h 717496"/>
              <a:gd name="connsiteX162" fmla="*/ 1051982 w 2610377"/>
              <a:gd name="connsiteY162" fmla="*/ 715530 h 717496"/>
              <a:gd name="connsiteX163" fmla="*/ 978892 w 2610377"/>
              <a:gd name="connsiteY163" fmla="*/ 715530 h 717496"/>
              <a:gd name="connsiteX164" fmla="*/ 978892 w 2610377"/>
              <a:gd name="connsiteY164" fmla="*/ 567466 h 717496"/>
              <a:gd name="connsiteX165" fmla="*/ 1008258 w 2610377"/>
              <a:gd name="connsiteY165" fmla="*/ 592905 h 717496"/>
              <a:gd name="connsiteX166" fmla="*/ 1008258 w 2610377"/>
              <a:gd name="connsiteY166" fmla="*/ 629431 h 717496"/>
              <a:gd name="connsiteX167" fmla="*/ 1042846 w 2610377"/>
              <a:gd name="connsiteY167" fmla="*/ 629431 h 717496"/>
              <a:gd name="connsiteX168" fmla="*/ 1062424 w 2610377"/>
              <a:gd name="connsiteY168" fmla="*/ 611820 h 717496"/>
              <a:gd name="connsiteX169" fmla="*/ 1042193 w 2610377"/>
              <a:gd name="connsiteY169" fmla="*/ 593557 h 717496"/>
              <a:gd name="connsiteX170" fmla="*/ 1008258 w 2610377"/>
              <a:gd name="connsiteY170" fmla="*/ 593557 h 717496"/>
              <a:gd name="connsiteX171" fmla="*/ 1008258 w 2610377"/>
              <a:gd name="connsiteY171" fmla="*/ 652260 h 717496"/>
              <a:gd name="connsiteX172" fmla="*/ 1008258 w 2610377"/>
              <a:gd name="connsiteY172" fmla="*/ 690744 h 717496"/>
              <a:gd name="connsiteX173" fmla="*/ 1046762 w 2610377"/>
              <a:gd name="connsiteY173" fmla="*/ 690744 h 717496"/>
              <a:gd name="connsiteX174" fmla="*/ 1066340 w 2610377"/>
              <a:gd name="connsiteY174" fmla="*/ 672480 h 717496"/>
              <a:gd name="connsiteX175" fmla="*/ 1046762 w 2610377"/>
              <a:gd name="connsiteY175" fmla="*/ 652260 h 717496"/>
              <a:gd name="connsiteX176" fmla="*/ 1008258 w 2610377"/>
              <a:gd name="connsiteY176" fmla="*/ 652260 h 717496"/>
              <a:gd name="connsiteX177" fmla="*/ 1247108 w 2610377"/>
              <a:gd name="connsiteY177" fmla="*/ 715530 h 717496"/>
              <a:gd name="connsiteX178" fmla="*/ 1137472 w 2610377"/>
              <a:gd name="connsiteY178" fmla="*/ 715530 h 717496"/>
              <a:gd name="connsiteX179" fmla="*/ 1137472 w 2610377"/>
              <a:gd name="connsiteY179" fmla="*/ 567466 h 717496"/>
              <a:gd name="connsiteX180" fmla="*/ 1166839 w 2610377"/>
              <a:gd name="connsiteY180" fmla="*/ 567466 h 717496"/>
              <a:gd name="connsiteX181" fmla="*/ 1166839 w 2610377"/>
              <a:gd name="connsiteY181" fmla="*/ 690091 h 717496"/>
              <a:gd name="connsiteX182" fmla="*/ 1246455 w 2610377"/>
              <a:gd name="connsiteY182" fmla="*/ 690091 h 717496"/>
              <a:gd name="connsiteX183" fmla="*/ 1246455 w 2610377"/>
              <a:gd name="connsiteY183" fmla="*/ 715530 h 717496"/>
              <a:gd name="connsiteX184" fmla="*/ 1281043 w 2610377"/>
              <a:gd name="connsiteY184" fmla="*/ 567466 h 717496"/>
              <a:gd name="connsiteX185" fmla="*/ 1386763 w 2610377"/>
              <a:gd name="connsiteY185" fmla="*/ 567466 h 717496"/>
              <a:gd name="connsiteX186" fmla="*/ 1386763 w 2610377"/>
              <a:gd name="connsiteY186" fmla="*/ 592905 h 717496"/>
              <a:gd name="connsiteX187" fmla="*/ 1311062 w 2610377"/>
              <a:gd name="connsiteY187" fmla="*/ 592905 h 717496"/>
              <a:gd name="connsiteX188" fmla="*/ 1311062 w 2610377"/>
              <a:gd name="connsiteY188" fmla="*/ 626822 h 717496"/>
              <a:gd name="connsiteX189" fmla="*/ 1376974 w 2610377"/>
              <a:gd name="connsiteY189" fmla="*/ 626822 h 717496"/>
              <a:gd name="connsiteX190" fmla="*/ 1376974 w 2610377"/>
              <a:gd name="connsiteY190" fmla="*/ 652260 h 717496"/>
              <a:gd name="connsiteX191" fmla="*/ 1311062 w 2610377"/>
              <a:gd name="connsiteY191" fmla="*/ 652260 h 717496"/>
              <a:gd name="connsiteX192" fmla="*/ 1311062 w 2610377"/>
              <a:gd name="connsiteY192" fmla="*/ 690091 h 717496"/>
              <a:gd name="connsiteX193" fmla="*/ 1388721 w 2610377"/>
              <a:gd name="connsiteY193" fmla="*/ 690091 h 717496"/>
              <a:gd name="connsiteX194" fmla="*/ 1388721 w 2610377"/>
              <a:gd name="connsiteY194" fmla="*/ 715530 h 717496"/>
              <a:gd name="connsiteX195" fmla="*/ 1281696 w 2610377"/>
              <a:gd name="connsiteY195" fmla="*/ 715530 h 717496"/>
              <a:gd name="connsiteX196" fmla="*/ 1281696 w 2610377"/>
              <a:gd name="connsiteY196" fmla="*/ 567466 h 717496"/>
              <a:gd name="connsiteX197" fmla="*/ 1504230 w 2610377"/>
              <a:gd name="connsiteY197" fmla="*/ 715530 h 717496"/>
              <a:gd name="connsiteX198" fmla="*/ 1504230 w 2610377"/>
              <a:gd name="connsiteY198" fmla="*/ 567466 h 717496"/>
              <a:gd name="connsiteX199" fmla="*/ 1530987 w 2610377"/>
              <a:gd name="connsiteY199" fmla="*/ 567466 h 717496"/>
              <a:gd name="connsiteX200" fmla="*/ 1613214 w 2610377"/>
              <a:gd name="connsiteY200" fmla="*/ 669219 h 717496"/>
              <a:gd name="connsiteX201" fmla="*/ 1613214 w 2610377"/>
              <a:gd name="connsiteY201" fmla="*/ 567466 h 717496"/>
              <a:gd name="connsiteX202" fmla="*/ 1642580 w 2610377"/>
              <a:gd name="connsiteY202" fmla="*/ 567466 h 717496"/>
              <a:gd name="connsiteX203" fmla="*/ 1642580 w 2610377"/>
              <a:gd name="connsiteY203" fmla="*/ 715530 h 717496"/>
              <a:gd name="connsiteX204" fmla="*/ 1615171 w 2610377"/>
              <a:gd name="connsiteY204" fmla="*/ 715530 h 717496"/>
              <a:gd name="connsiteX205" fmla="*/ 1533597 w 2610377"/>
              <a:gd name="connsiteY205" fmla="*/ 615081 h 717496"/>
              <a:gd name="connsiteX206" fmla="*/ 1533597 w 2610377"/>
              <a:gd name="connsiteY206" fmla="*/ 715530 h 717496"/>
              <a:gd name="connsiteX207" fmla="*/ 1504230 w 2610377"/>
              <a:gd name="connsiteY207" fmla="*/ 715530 h 717496"/>
              <a:gd name="connsiteX208" fmla="*/ 1682388 w 2610377"/>
              <a:gd name="connsiteY208" fmla="*/ 641824 h 717496"/>
              <a:gd name="connsiteX209" fmla="*/ 1760047 w 2610377"/>
              <a:gd name="connsiteY209" fmla="*/ 565510 h 717496"/>
              <a:gd name="connsiteX210" fmla="*/ 1837706 w 2610377"/>
              <a:gd name="connsiteY210" fmla="*/ 641824 h 717496"/>
              <a:gd name="connsiteX211" fmla="*/ 1760047 w 2610377"/>
              <a:gd name="connsiteY211" fmla="*/ 717486 h 717496"/>
              <a:gd name="connsiteX212" fmla="*/ 1682388 w 2610377"/>
              <a:gd name="connsiteY212" fmla="*/ 641824 h 717496"/>
              <a:gd name="connsiteX213" fmla="*/ 1760047 w 2610377"/>
              <a:gd name="connsiteY213" fmla="*/ 690744 h 717496"/>
              <a:gd name="connsiteX214" fmla="*/ 1807687 w 2610377"/>
              <a:gd name="connsiteY214" fmla="*/ 641824 h 717496"/>
              <a:gd name="connsiteX215" fmla="*/ 1760047 w 2610377"/>
              <a:gd name="connsiteY215" fmla="*/ 592905 h 717496"/>
              <a:gd name="connsiteX216" fmla="*/ 1712408 w 2610377"/>
              <a:gd name="connsiteY216" fmla="*/ 641824 h 717496"/>
              <a:gd name="connsiteX217" fmla="*/ 1760047 w 2610377"/>
              <a:gd name="connsiteY217" fmla="*/ 690744 h 717496"/>
              <a:gd name="connsiteX218" fmla="*/ 1954520 w 2610377"/>
              <a:gd name="connsiteY218" fmla="*/ 567466 h 717496"/>
              <a:gd name="connsiteX219" fmla="*/ 1985845 w 2610377"/>
              <a:gd name="connsiteY219" fmla="*/ 567466 h 717496"/>
              <a:gd name="connsiteX220" fmla="*/ 2033485 w 2610377"/>
              <a:gd name="connsiteY220" fmla="*/ 665958 h 717496"/>
              <a:gd name="connsiteX221" fmla="*/ 2081124 w 2610377"/>
              <a:gd name="connsiteY221" fmla="*/ 567466 h 717496"/>
              <a:gd name="connsiteX222" fmla="*/ 2112448 w 2610377"/>
              <a:gd name="connsiteY222" fmla="*/ 567466 h 717496"/>
              <a:gd name="connsiteX223" fmla="*/ 2112448 w 2610377"/>
              <a:gd name="connsiteY223" fmla="*/ 715530 h 717496"/>
              <a:gd name="connsiteX224" fmla="*/ 2083082 w 2610377"/>
              <a:gd name="connsiteY224" fmla="*/ 715530 h 717496"/>
              <a:gd name="connsiteX225" fmla="*/ 2083082 w 2610377"/>
              <a:gd name="connsiteY225" fmla="*/ 624865 h 717496"/>
              <a:gd name="connsiteX226" fmla="*/ 2043274 w 2610377"/>
              <a:gd name="connsiteY226" fmla="*/ 705746 h 717496"/>
              <a:gd name="connsiteX227" fmla="*/ 2024348 w 2610377"/>
              <a:gd name="connsiteY227" fmla="*/ 705746 h 717496"/>
              <a:gd name="connsiteX228" fmla="*/ 1984540 w 2610377"/>
              <a:gd name="connsiteY228" fmla="*/ 624865 h 717496"/>
              <a:gd name="connsiteX229" fmla="*/ 1984540 w 2610377"/>
              <a:gd name="connsiteY229" fmla="*/ 715530 h 717496"/>
              <a:gd name="connsiteX230" fmla="*/ 1955173 w 2610377"/>
              <a:gd name="connsiteY230" fmla="*/ 715530 h 717496"/>
              <a:gd name="connsiteX231" fmla="*/ 1955173 w 2610377"/>
              <a:gd name="connsiteY231" fmla="*/ 567466 h 717496"/>
              <a:gd name="connsiteX232" fmla="*/ 2152257 w 2610377"/>
              <a:gd name="connsiteY232" fmla="*/ 641824 h 717496"/>
              <a:gd name="connsiteX233" fmla="*/ 2229915 w 2610377"/>
              <a:gd name="connsiteY233" fmla="*/ 565510 h 717496"/>
              <a:gd name="connsiteX234" fmla="*/ 2307574 w 2610377"/>
              <a:gd name="connsiteY234" fmla="*/ 641824 h 717496"/>
              <a:gd name="connsiteX235" fmla="*/ 2229915 w 2610377"/>
              <a:gd name="connsiteY235" fmla="*/ 717486 h 717496"/>
              <a:gd name="connsiteX236" fmla="*/ 2152257 w 2610377"/>
              <a:gd name="connsiteY236" fmla="*/ 641824 h 717496"/>
              <a:gd name="connsiteX237" fmla="*/ 2229915 w 2610377"/>
              <a:gd name="connsiteY237" fmla="*/ 690744 h 717496"/>
              <a:gd name="connsiteX238" fmla="*/ 2277555 w 2610377"/>
              <a:gd name="connsiteY238" fmla="*/ 641824 h 717496"/>
              <a:gd name="connsiteX239" fmla="*/ 2229915 w 2610377"/>
              <a:gd name="connsiteY239" fmla="*/ 592905 h 717496"/>
              <a:gd name="connsiteX240" fmla="*/ 2182276 w 2610377"/>
              <a:gd name="connsiteY240" fmla="*/ 641824 h 717496"/>
              <a:gd name="connsiteX241" fmla="*/ 2229915 w 2610377"/>
              <a:gd name="connsiteY241" fmla="*/ 690744 h 717496"/>
              <a:gd name="connsiteX242" fmla="*/ 2342814 w 2610377"/>
              <a:gd name="connsiteY242" fmla="*/ 715530 h 717496"/>
              <a:gd name="connsiteX243" fmla="*/ 2342814 w 2610377"/>
              <a:gd name="connsiteY243" fmla="*/ 567466 h 717496"/>
              <a:gd name="connsiteX244" fmla="*/ 2408074 w 2610377"/>
              <a:gd name="connsiteY244" fmla="*/ 567466 h 717496"/>
              <a:gd name="connsiteX245" fmla="*/ 2460934 w 2610377"/>
              <a:gd name="connsiteY245" fmla="*/ 615081 h 717496"/>
              <a:gd name="connsiteX246" fmla="*/ 2433525 w 2610377"/>
              <a:gd name="connsiteY246" fmla="*/ 656826 h 717496"/>
              <a:gd name="connsiteX247" fmla="*/ 2466807 w 2610377"/>
              <a:gd name="connsiteY247" fmla="*/ 715530 h 717496"/>
              <a:gd name="connsiteX248" fmla="*/ 2434177 w 2610377"/>
              <a:gd name="connsiteY248" fmla="*/ 715530 h 717496"/>
              <a:gd name="connsiteX249" fmla="*/ 2404158 w 2610377"/>
              <a:gd name="connsiteY249" fmla="*/ 661392 h 717496"/>
              <a:gd name="connsiteX250" fmla="*/ 2372181 w 2610377"/>
              <a:gd name="connsiteY250" fmla="*/ 661392 h 717496"/>
              <a:gd name="connsiteX251" fmla="*/ 2372181 w 2610377"/>
              <a:gd name="connsiteY251" fmla="*/ 714877 h 717496"/>
              <a:gd name="connsiteX252" fmla="*/ 2342814 w 2610377"/>
              <a:gd name="connsiteY252" fmla="*/ 714877 h 717496"/>
              <a:gd name="connsiteX253" fmla="*/ 2372181 w 2610377"/>
              <a:gd name="connsiteY253" fmla="*/ 635954 h 717496"/>
              <a:gd name="connsiteX254" fmla="*/ 2406116 w 2610377"/>
              <a:gd name="connsiteY254" fmla="*/ 635954 h 717496"/>
              <a:gd name="connsiteX255" fmla="*/ 2430914 w 2610377"/>
              <a:gd name="connsiteY255" fmla="*/ 615081 h 717496"/>
              <a:gd name="connsiteX256" fmla="*/ 2406116 w 2610377"/>
              <a:gd name="connsiteY256" fmla="*/ 592905 h 717496"/>
              <a:gd name="connsiteX257" fmla="*/ 2372181 w 2610377"/>
              <a:gd name="connsiteY257" fmla="*/ 592905 h 717496"/>
              <a:gd name="connsiteX258" fmla="*/ 2372181 w 2610377"/>
              <a:gd name="connsiteY258" fmla="*/ 635954 h 717496"/>
              <a:gd name="connsiteX259" fmla="*/ 2503353 w 2610377"/>
              <a:gd name="connsiteY259" fmla="*/ 567466 h 717496"/>
              <a:gd name="connsiteX260" fmla="*/ 2609073 w 2610377"/>
              <a:gd name="connsiteY260" fmla="*/ 567466 h 717496"/>
              <a:gd name="connsiteX261" fmla="*/ 2609073 w 2610377"/>
              <a:gd name="connsiteY261" fmla="*/ 592905 h 717496"/>
              <a:gd name="connsiteX262" fmla="*/ 2533372 w 2610377"/>
              <a:gd name="connsiteY262" fmla="*/ 592905 h 717496"/>
              <a:gd name="connsiteX263" fmla="*/ 2533372 w 2610377"/>
              <a:gd name="connsiteY263" fmla="*/ 626822 h 717496"/>
              <a:gd name="connsiteX264" fmla="*/ 2598631 w 2610377"/>
              <a:gd name="connsiteY264" fmla="*/ 626822 h 717496"/>
              <a:gd name="connsiteX265" fmla="*/ 2598631 w 2610377"/>
              <a:gd name="connsiteY265" fmla="*/ 652260 h 717496"/>
              <a:gd name="connsiteX266" fmla="*/ 2532719 w 2610377"/>
              <a:gd name="connsiteY266" fmla="*/ 652260 h 717496"/>
              <a:gd name="connsiteX267" fmla="*/ 2532719 w 2610377"/>
              <a:gd name="connsiteY267" fmla="*/ 690091 h 717496"/>
              <a:gd name="connsiteX268" fmla="*/ 2610378 w 2610377"/>
              <a:gd name="connsiteY268" fmla="*/ 690091 h 717496"/>
              <a:gd name="connsiteX269" fmla="*/ 2610378 w 2610377"/>
              <a:gd name="connsiteY269" fmla="*/ 715530 h 717496"/>
              <a:gd name="connsiteX270" fmla="*/ 2503353 w 2610377"/>
              <a:gd name="connsiteY270" fmla="*/ 715530 h 717496"/>
              <a:gd name="connsiteX271" fmla="*/ 2503353 w 2610377"/>
              <a:gd name="connsiteY271" fmla="*/ 567466 h 71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610377" h="717496">
                <a:moveTo>
                  <a:pt x="219924" y="234161"/>
                </a:moveTo>
                <a:cubicBezTo>
                  <a:pt x="274742" y="219812"/>
                  <a:pt x="308677" y="178067"/>
                  <a:pt x="308677" y="120016"/>
                </a:cubicBezTo>
                <a:cubicBezTo>
                  <a:pt x="308677" y="46311"/>
                  <a:pt x="255164" y="0"/>
                  <a:pt x="173590" y="0"/>
                </a:cubicBezTo>
                <a:lnTo>
                  <a:pt x="653" y="0"/>
                </a:lnTo>
                <a:lnTo>
                  <a:pt x="653" y="404401"/>
                </a:lnTo>
                <a:lnTo>
                  <a:pt x="49597" y="404401"/>
                </a:lnTo>
                <a:lnTo>
                  <a:pt x="49597" y="240032"/>
                </a:lnTo>
                <a:lnTo>
                  <a:pt x="167064" y="240032"/>
                </a:lnTo>
                <a:lnTo>
                  <a:pt x="262343" y="404401"/>
                </a:lnTo>
                <a:lnTo>
                  <a:pt x="320424" y="404401"/>
                </a:lnTo>
                <a:lnTo>
                  <a:pt x="219924" y="234161"/>
                </a:lnTo>
                <a:close/>
                <a:moveTo>
                  <a:pt x="49597" y="196330"/>
                </a:moveTo>
                <a:lnTo>
                  <a:pt x="49597" y="45006"/>
                </a:lnTo>
                <a:lnTo>
                  <a:pt x="170980" y="45006"/>
                </a:lnTo>
                <a:cubicBezTo>
                  <a:pt x="227756" y="45006"/>
                  <a:pt x="256470" y="73705"/>
                  <a:pt x="256470" y="120668"/>
                </a:cubicBezTo>
                <a:cubicBezTo>
                  <a:pt x="256470" y="166326"/>
                  <a:pt x="227103" y="196983"/>
                  <a:pt x="170980" y="196983"/>
                </a:cubicBezTo>
                <a:lnTo>
                  <a:pt x="49597" y="196983"/>
                </a:lnTo>
                <a:close/>
                <a:moveTo>
                  <a:pt x="1414825" y="652"/>
                </a:moveTo>
                <a:lnTo>
                  <a:pt x="1465075" y="652"/>
                </a:lnTo>
                <a:lnTo>
                  <a:pt x="1344997" y="405054"/>
                </a:lnTo>
                <a:lnTo>
                  <a:pt x="1273212" y="405054"/>
                </a:lnTo>
                <a:lnTo>
                  <a:pt x="1172712" y="75662"/>
                </a:lnTo>
                <a:lnTo>
                  <a:pt x="1072213" y="405054"/>
                </a:lnTo>
                <a:lnTo>
                  <a:pt x="1000427" y="405054"/>
                </a:lnTo>
                <a:lnTo>
                  <a:pt x="880350" y="652"/>
                </a:lnTo>
                <a:lnTo>
                  <a:pt x="930600" y="652"/>
                </a:lnTo>
                <a:lnTo>
                  <a:pt x="1036973" y="354830"/>
                </a:lnTo>
                <a:lnTo>
                  <a:pt x="1146609" y="3914"/>
                </a:lnTo>
                <a:lnTo>
                  <a:pt x="1198816" y="3914"/>
                </a:lnTo>
                <a:lnTo>
                  <a:pt x="1308452" y="354830"/>
                </a:lnTo>
                <a:lnTo>
                  <a:pt x="1414825" y="652"/>
                </a:lnTo>
                <a:close/>
                <a:moveTo>
                  <a:pt x="1621697" y="652"/>
                </a:moveTo>
                <a:lnTo>
                  <a:pt x="1670642" y="652"/>
                </a:lnTo>
                <a:lnTo>
                  <a:pt x="1670642" y="405054"/>
                </a:lnTo>
                <a:lnTo>
                  <a:pt x="1621697" y="405054"/>
                </a:lnTo>
                <a:lnTo>
                  <a:pt x="1621697" y="652"/>
                </a:lnTo>
                <a:close/>
                <a:moveTo>
                  <a:pt x="752442" y="405054"/>
                </a:moveTo>
                <a:lnTo>
                  <a:pt x="467910" y="405054"/>
                </a:lnTo>
                <a:lnTo>
                  <a:pt x="467910" y="652"/>
                </a:lnTo>
                <a:lnTo>
                  <a:pt x="745916" y="652"/>
                </a:lnTo>
                <a:lnTo>
                  <a:pt x="745916" y="45006"/>
                </a:lnTo>
                <a:lnTo>
                  <a:pt x="516855" y="45006"/>
                </a:lnTo>
                <a:lnTo>
                  <a:pt x="516855" y="174806"/>
                </a:lnTo>
                <a:lnTo>
                  <a:pt x="714591" y="174806"/>
                </a:lnTo>
                <a:lnTo>
                  <a:pt x="714591" y="219159"/>
                </a:lnTo>
                <a:lnTo>
                  <a:pt x="516855" y="219159"/>
                </a:lnTo>
                <a:lnTo>
                  <a:pt x="516855" y="360048"/>
                </a:lnTo>
                <a:lnTo>
                  <a:pt x="752442" y="360048"/>
                </a:lnTo>
                <a:lnTo>
                  <a:pt x="752442" y="405054"/>
                </a:lnTo>
                <a:close/>
                <a:moveTo>
                  <a:pt x="2077861" y="234161"/>
                </a:moveTo>
                <a:cubicBezTo>
                  <a:pt x="2132679" y="219812"/>
                  <a:pt x="2166614" y="178067"/>
                  <a:pt x="2166614" y="120016"/>
                </a:cubicBezTo>
                <a:cubicBezTo>
                  <a:pt x="2166614" y="46311"/>
                  <a:pt x="2113101" y="0"/>
                  <a:pt x="2031527" y="0"/>
                </a:cubicBezTo>
                <a:lnTo>
                  <a:pt x="1858589" y="0"/>
                </a:lnTo>
                <a:lnTo>
                  <a:pt x="1858589" y="404401"/>
                </a:lnTo>
                <a:lnTo>
                  <a:pt x="1907534" y="404401"/>
                </a:lnTo>
                <a:lnTo>
                  <a:pt x="1907534" y="240032"/>
                </a:lnTo>
                <a:lnTo>
                  <a:pt x="2025001" y="240032"/>
                </a:lnTo>
                <a:lnTo>
                  <a:pt x="2120280" y="404401"/>
                </a:lnTo>
                <a:lnTo>
                  <a:pt x="2178360" y="404401"/>
                </a:lnTo>
                <a:lnTo>
                  <a:pt x="2077861" y="234161"/>
                </a:lnTo>
                <a:close/>
                <a:moveTo>
                  <a:pt x="1907534" y="196330"/>
                </a:moveTo>
                <a:lnTo>
                  <a:pt x="1907534" y="45006"/>
                </a:lnTo>
                <a:lnTo>
                  <a:pt x="2029569" y="45006"/>
                </a:lnTo>
                <a:cubicBezTo>
                  <a:pt x="2086345" y="45006"/>
                  <a:pt x="2115059" y="73705"/>
                  <a:pt x="2115059" y="120668"/>
                </a:cubicBezTo>
                <a:cubicBezTo>
                  <a:pt x="2115059" y="166326"/>
                  <a:pt x="2085692" y="196983"/>
                  <a:pt x="2029569" y="196983"/>
                </a:cubicBezTo>
                <a:lnTo>
                  <a:pt x="1907534" y="196983"/>
                </a:lnTo>
                <a:close/>
                <a:moveTo>
                  <a:pt x="2610378" y="652"/>
                </a:moveTo>
                <a:lnTo>
                  <a:pt x="2610378" y="405054"/>
                </a:lnTo>
                <a:lnTo>
                  <a:pt x="2325847" y="405054"/>
                </a:lnTo>
                <a:lnTo>
                  <a:pt x="2325847" y="360700"/>
                </a:lnTo>
                <a:lnTo>
                  <a:pt x="2561433" y="360700"/>
                </a:lnTo>
                <a:lnTo>
                  <a:pt x="2561433" y="219812"/>
                </a:lnTo>
                <a:lnTo>
                  <a:pt x="2363697" y="219812"/>
                </a:lnTo>
                <a:lnTo>
                  <a:pt x="2363697" y="175458"/>
                </a:lnTo>
                <a:lnTo>
                  <a:pt x="2561433" y="175458"/>
                </a:lnTo>
                <a:lnTo>
                  <a:pt x="2561433" y="45658"/>
                </a:lnTo>
                <a:lnTo>
                  <a:pt x="2332373" y="45658"/>
                </a:lnTo>
                <a:lnTo>
                  <a:pt x="2332373" y="1305"/>
                </a:lnTo>
                <a:lnTo>
                  <a:pt x="2610378" y="1305"/>
                </a:lnTo>
                <a:close/>
                <a:moveTo>
                  <a:pt x="29367" y="715530"/>
                </a:moveTo>
                <a:lnTo>
                  <a:pt x="0" y="715530"/>
                </a:lnTo>
                <a:lnTo>
                  <a:pt x="0" y="567466"/>
                </a:lnTo>
                <a:lnTo>
                  <a:pt x="29367" y="567466"/>
                </a:lnTo>
                <a:lnTo>
                  <a:pt x="29367" y="715530"/>
                </a:lnTo>
                <a:close/>
                <a:moveTo>
                  <a:pt x="78964" y="567466"/>
                </a:moveTo>
                <a:lnTo>
                  <a:pt x="110289" y="567466"/>
                </a:lnTo>
                <a:lnTo>
                  <a:pt x="157928" y="665958"/>
                </a:lnTo>
                <a:lnTo>
                  <a:pt x="205567" y="567466"/>
                </a:lnTo>
                <a:lnTo>
                  <a:pt x="236892" y="567466"/>
                </a:lnTo>
                <a:lnTo>
                  <a:pt x="236892" y="715530"/>
                </a:lnTo>
                <a:lnTo>
                  <a:pt x="207525" y="715530"/>
                </a:lnTo>
                <a:lnTo>
                  <a:pt x="207525" y="624865"/>
                </a:lnTo>
                <a:lnTo>
                  <a:pt x="167717" y="705746"/>
                </a:lnTo>
                <a:lnTo>
                  <a:pt x="148792" y="705746"/>
                </a:lnTo>
                <a:lnTo>
                  <a:pt x="108983" y="624865"/>
                </a:lnTo>
                <a:lnTo>
                  <a:pt x="108983" y="715530"/>
                </a:lnTo>
                <a:lnTo>
                  <a:pt x="79617" y="715530"/>
                </a:lnTo>
                <a:lnTo>
                  <a:pt x="79617" y="567466"/>
                </a:lnTo>
                <a:close/>
                <a:moveTo>
                  <a:pt x="281921" y="715530"/>
                </a:moveTo>
                <a:lnTo>
                  <a:pt x="281921" y="567466"/>
                </a:lnTo>
                <a:lnTo>
                  <a:pt x="346528" y="567466"/>
                </a:lnTo>
                <a:cubicBezTo>
                  <a:pt x="378505" y="567466"/>
                  <a:pt x="399388" y="587034"/>
                  <a:pt x="399388" y="616386"/>
                </a:cubicBezTo>
                <a:cubicBezTo>
                  <a:pt x="399388" y="644433"/>
                  <a:pt x="378505" y="664653"/>
                  <a:pt x="346528" y="664653"/>
                </a:cubicBezTo>
                <a:lnTo>
                  <a:pt x="311288" y="664653"/>
                </a:lnTo>
                <a:lnTo>
                  <a:pt x="311288" y="715530"/>
                </a:lnTo>
                <a:lnTo>
                  <a:pt x="281921" y="715530"/>
                </a:lnTo>
                <a:close/>
                <a:moveTo>
                  <a:pt x="311288" y="639215"/>
                </a:moveTo>
                <a:lnTo>
                  <a:pt x="344570" y="639215"/>
                </a:lnTo>
                <a:cubicBezTo>
                  <a:pt x="360885" y="639215"/>
                  <a:pt x="369369" y="628779"/>
                  <a:pt x="369369" y="616386"/>
                </a:cubicBezTo>
                <a:cubicBezTo>
                  <a:pt x="369369" y="602688"/>
                  <a:pt x="360885" y="592905"/>
                  <a:pt x="344570" y="592905"/>
                </a:cubicBezTo>
                <a:lnTo>
                  <a:pt x="311288" y="592905"/>
                </a:lnTo>
                <a:lnTo>
                  <a:pt x="311288" y="639215"/>
                </a:lnTo>
                <a:close/>
                <a:moveTo>
                  <a:pt x="426144" y="641824"/>
                </a:moveTo>
                <a:cubicBezTo>
                  <a:pt x="426144" y="596818"/>
                  <a:pt x="458774" y="565510"/>
                  <a:pt x="503803" y="565510"/>
                </a:cubicBezTo>
                <a:cubicBezTo>
                  <a:pt x="548832" y="565510"/>
                  <a:pt x="581462" y="597470"/>
                  <a:pt x="581462" y="641824"/>
                </a:cubicBezTo>
                <a:cubicBezTo>
                  <a:pt x="581462" y="686830"/>
                  <a:pt x="548832" y="717486"/>
                  <a:pt x="503803" y="717486"/>
                </a:cubicBezTo>
                <a:cubicBezTo>
                  <a:pt x="458774" y="718139"/>
                  <a:pt x="426144" y="686830"/>
                  <a:pt x="426144" y="641824"/>
                </a:cubicBezTo>
                <a:close/>
                <a:moveTo>
                  <a:pt x="503803" y="690744"/>
                </a:moveTo>
                <a:cubicBezTo>
                  <a:pt x="531865" y="690744"/>
                  <a:pt x="551442" y="671176"/>
                  <a:pt x="551442" y="641824"/>
                </a:cubicBezTo>
                <a:cubicBezTo>
                  <a:pt x="551442" y="613125"/>
                  <a:pt x="531865" y="592905"/>
                  <a:pt x="503803" y="592905"/>
                </a:cubicBezTo>
                <a:cubicBezTo>
                  <a:pt x="476394" y="592905"/>
                  <a:pt x="456164" y="613125"/>
                  <a:pt x="456164" y="641824"/>
                </a:cubicBezTo>
                <a:cubicBezTo>
                  <a:pt x="456816" y="670523"/>
                  <a:pt x="476394" y="690744"/>
                  <a:pt x="503803" y="690744"/>
                </a:cubicBezTo>
                <a:close/>
                <a:moveTo>
                  <a:pt x="629754" y="667262"/>
                </a:moveTo>
                <a:cubicBezTo>
                  <a:pt x="636932" y="681612"/>
                  <a:pt x="649984" y="691396"/>
                  <a:pt x="667604" y="691396"/>
                </a:cubicBezTo>
                <a:cubicBezTo>
                  <a:pt x="681961" y="691396"/>
                  <a:pt x="693055" y="684221"/>
                  <a:pt x="693055" y="675089"/>
                </a:cubicBezTo>
                <a:cubicBezTo>
                  <a:pt x="693055" y="665305"/>
                  <a:pt x="681961" y="660087"/>
                  <a:pt x="664341" y="654217"/>
                </a:cubicBezTo>
                <a:cubicBezTo>
                  <a:pt x="635627" y="645085"/>
                  <a:pt x="612786" y="636606"/>
                  <a:pt x="612786" y="607907"/>
                </a:cubicBezTo>
                <a:cubicBezTo>
                  <a:pt x="612786" y="579859"/>
                  <a:pt x="640195" y="565510"/>
                  <a:pt x="664994" y="565510"/>
                </a:cubicBezTo>
                <a:cubicBezTo>
                  <a:pt x="691750" y="565510"/>
                  <a:pt x="710676" y="581164"/>
                  <a:pt x="719812" y="597470"/>
                </a:cubicBezTo>
                <a:lnTo>
                  <a:pt x="696971" y="613777"/>
                </a:lnTo>
                <a:cubicBezTo>
                  <a:pt x="690445" y="602688"/>
                  <a:pt x="680004" y="592252"/>
                  <a:pt x="664341" y="592252"/>
                </a:cubicBezTo>
                <a:cubicBezTo>
                  <a:pt x="652594" y="592252"/>
                  <a:pt x="642806" y="598123"/>
                  <a:pt x="642806" y="607907"/>
                </a:cubicBezTo>
                <a:cubicBezTo>
                  <a:pt x="642806" y="619647"/>
                  <a:pt x="653900" y="621604"/>
                  <a:pt x="672172" y="628127"/>
                </a:cubicBezTo>
                <a:cubicBezTo>
                  <a:pt x="700234" y="637910"/>
                  <a:pt x="723075" y="645738"/>
                  <a:pt x="723075" y="674437"/>
                </a:cubicBezTo>
                <a:cubicBezTo>
                  <a:pt x="723075" y="703789"/>
                  <a:pt x="693708" y="717486"/>
                  <a:pt x="666952" y="717486"/>
                </a:cubicBezTo>
                <a:cubicBezTo>
                  <a:pt x="638238" y="717486"/>
                  <a:pt x="616049" y="702484"/>
                  <a:pt x="607566" y="682264"/>
                </a:cubicBezTo>
                <a:lnTo>
                  <a:pt x="629754" y="667262"/>
                </a:lnTo>
                <a:close/>
                <a:moveTo>
                  <a:pt x="770714" y="667262"/>
                </a:moveTo>
                <a:cubicBezTo>
                  <a:pt x="777893" y="681612"/>
                  <a:pt x="790945" y="691396"/>
                  <a:pt x="808565" y="691396"/>
                </a:cubicBezTo>
                <a:cubicBezTo>
                  <a:pt x="822922" y="691396"/>
                  <a:pt x="834016" y="684221"/>
                  <a:pt x="834016" y="675089"/>
                </a:cubicBezTo>
                <a:cubicBezTo>
                  <a:pt x="834016" y="665305"/>
                  <a:pt x="822922" y="660087"/>
                  <a:pt x="805302" y="654217"/>
                </a:cubicBezTo>
                <a:cubicBezTo>
                  <a:pt x="776587" y="645085"/>
                  <a:pt x="753747" y="636606"/>
                  <a:pt x="753747" y="607907"/>
                </a:cubicBezTo>
                <a:cubicBezTo>
                  <a:pt x="753747" y="579859"/>
                  <a:pt x="781156" y="565510"/>
                  <a:pt x="805954" y="565510"/>
                </a:cubicBezTo>
                <a:cubicBezTo>
                  <a:pt x="832711" y="565510"/>
                  <a:pt x="851636" y="581164"/>
                  <a:pt x="860772" y="597470"/>
                </a:cubicBezTo>
                <a:lnTo>
                  <a:pt x="837931" y="613777"/>
                </a:lnTo>
                <a:cubicBezTo>
                  <a:pt x="831406" y="602688"/>
                  <a:pt x="820964" y="592252"/>
                  <a:pt x="805302" y="592252"/>
                </a:cubicBezTo>
                <a:cubicBezTo>
                  <a:pt x="793555" y="592252"/>
                  <a:pt x="783766" y="598123"/>
                  <a:pt x="783766" y="607907"/>
                </a:cubicBezTo>
                <a:cubicBezTo>
                  <a:pt x="783766" y="619647"/>
                  <a:pt x="794860" y="621604"/>
                  <a:pt x="813133" y="628127"/>
                </a:cubicBezTo>
                <a:cubicBezTo>
                  <a:pt x="841194" y="637910"/>
                  <a:pt x="864035" y="645738"/>
                  <a:pt x="864035" y="674437"/>
                </a:cubicBezTo>
                <a:cubicBezTo>
                  <a:pt x="864035" y="703789"/>
                  <a:pt x="834669" y="717486"/>
                  <a:pt x="807912" y="717486"/>
                </a:cubicBezTo>
                <a:cubicBezTo>
                  <a:pt x="779198" y="717486"/>
                  <a:pt x="757010" y="702484"/>
                  <a:pt x="748526" y="682264"/>
                </a:cubicBezTo>
                <a:lnTo>
                  <a:pt x="770714" y="667262"/>
                </a:lnTo>
                <a:close/>
                <a:moveTo>
                  <a:pt x="933863" y="715530"/>
                </a:moveTo>
                <a:lnTo>
                  <a:pt x="904496" y="715530"/>
                </a:lnTo>
                <a:lnTo>
                  <a:pt x="904496" y="567466"/>
                </a:lnTo>
                <a:lnTo>
                  <a:pt x="933863" y="567466"/>
                </a:lnTo>
                <a:lnTo>
                  <a:pt x="933863" y="715530"/>
                </a:lnTo>
                <a:close/>
                <a:moveTo>
                  <a:pt x="978892" y="567466"/>
                </a:moveTo>
                <a:lnTo>
                  <a:pt x="1047414" y="567466"/>
                </a:lnTo>
                <a:cubicBezTo>
                  <a:pt x="1074171" y="567466"/>
                  <a:pt x="1093096" y="583773"/>
                  <a:pt x="1093096" y="607907"/>
                </a:cubicBezTo>
                <a:cubicBezTo>
                  <a:pt x="1093096" y="617691"/>
                  <a:pt x="1087875" y="633345"/>
                  <a:pt x="1073518" y="638563"/>
                </a:cubicBezTo>
                <a:cubicBezTo>
                  <a:pt x="1089833" y="645085"/>
                  <a:pt x="1098316" y="658783"/>
                  <a:pt x="1098316" y="674437"/>
                </a:cubicBezTo>
                <a:cubicBezTo>
                  <a:pt x="1098316" y="698571"/>
                  <a:pt x="1079391" y="715530"/>
                  <a:pt x="1051982" y="715530"/>
                </a:cubicBezTo>
                <a:lnTo>
                  <a:pt x="978892" y="715530"/>
                </a:lnTo>
                <a:lnTo>
                  <a:pt x="978892" y="567466"/>
                </a:lnTo>
                <a:close/>
                <a:moveTo>
                  <a:pt x="1008258" y="592905"/>
                </a:moveTo>
                <a:lnTo>
                  <a:pt x="1008258" y="629431"/>
                </a:lnTo>
                <a:lnTo>
                  <a:pt x="1042846" y="629431"/>
                </a:lnTo>
                <a:cubicBezTo>
                  <a:pt x="1055245" y="629431"/>
                  <a:pt x="1062424" y="621604"/>
                  <a:pt x="1062424" y="611820"/>
                </a:cubicBezTo>
                <a:cubicBezTo>
                  <a:pt x="1062424" y="600079"/>
                  <a:pt x="1053940" y="593557"/>
                  <a:pt x="1042193" y="593557"/>
                </a:cubicBezTo>
                <a:lnTo>
                  <a:pt x="1008258" y="593557"/>
                </a:lnTo>
                <a:close/>
                <a:moveTo>
                  <a:pt x="1008258" y="652260"/>
                </a:moveTo>
                <a:lnTo>
                  <a:pt x="1008258" y="690744"/>
                </a:lnTo>
                <a:lnTo>
                  <a:pt x="1046762" y="690744"/>
                </a:lnTo>
                <a:cubicBezTo>
                  <a:pt x="1058508" y="690744"/>
                  <a:pt x="1066340" y="682917"/>
                  <a:pt x="1066340" y="672480"/>
                </a:cubicBezTo>
                <a:cubicBezTo>
                  <a:pt x="1066340" y="660087"/>
                  <a:pt x="1058508" y="652260"/>
                  <a:pt x="1046762" y="652260"/>
                </a:cubicBezTo>
                <a:lnTo>
                  <a:pt x="1008258" y="652260"/>
                </a:lnTo>
                <a:close/>
                <a:moveTo>
                  <a:pt x="1247108" y="715530"/>
                </a:moveTo>
                <a:lnTo>
                  <a:pt x="1137472" y="715530"/>
                </a:lnTo>
                <a:lnTo>
                  <a:pt x="1137472" y="567466"/>
                </a:lnTo>
                <a:lnTo>
                  <a:pt x="1166839" y="567466"/>
                </a:lnTo>
                <a:lnTo>
                  <a:pt x="1166839" y="690091"/>
                </a:lnTo>
                <a:lnTo>
                  <a:pt x="1246455" y="690091"/>
                </a:lnTo>
                <a:lnTo>
                  <a:pt x="1246455" y="715530"/>
                </a:lnTo>
                <a:close/>
                <a:moveTo>
                  <a:pt x="1281043" y="567466"/>
                </a:moveTo>
                <a:lnTo>
                  <a:pt x="1386763" y="567466"/>
                </a:lnTo>
                <a:lnTo>
                  <a:pt x="1386763" y="592905"/>
                </a:lnTo>
                <a:lnTo>
                  <a:pt x="1311062" y="592905"/>
                </a:lnTo>
                <a:lnTo>
                  <a:pt x="1311062" y="626822"/>
                </a:lnTo>
                <a:lnTo>
                  <a:pt x="1376974" y="626822"/>
                </a:lnTo>
                <a:lnTo>
                  <a:pt x="1376974" y="652260"/>
                </a:lnTo>
                <a:lnTo>
                  <a:pt x="1311062" y="652260"/>
                </a:lnTo>
                <a:lnTo>
                  <a:pt x="1311062" y="690091"/>
                </a:lnTo>
                <a:lnTo>
                  <a:pt x="1388721" y="690091"/>
                </a:lnTo>
                <a:lnTo>
                  <a:pt x="1388721" y="715530"/>
                </a:lnTo>
                <a:lnTo>
                  <a:pt x="1281696" y="715530"/>
                </a:lnTo>
                <a:lnTo>
                  <a:pt x="1281696" y="567466"/>
                </a:lnTo>
                <a:close/>
                <a:moveTo>
                  <a:pt x="1504230" y="715530"/>
                </a:moveTo>
                <a:lnTo>
                  <a:pt x="1504230" y="567466"/>
                </a:lnTo>
                <a:lnTo>
                  <a:pt x="1530987" y="567466"/>
                </a:lnTo>
                <a:lnTo>
                  <a:pt x="1613214" y="669219"/>
                </a:lnTo>
                <a:lnTo>
                  <a:pt x="1613214" y="567466"/>
                </a:lnTo>
                <a:lnTo>
                  <a:pt x="1642580" y="567466"/>
                </a:lnTo>
                <a:lnTo>
                  <a:pt x="1642580" y="715530"/>
                </a:lnTo>
                <a:lnTo>
                  <a:pt x="1615171" y="715530"/>
                </a:lnTo>
                <a:lnTo>
                  <a:pt x="1533597" y="615081"/>
                </a:lnTo>
                <a:lnTo>
                  <a:pt x="1533597" y="715530"/>
                </a:lnTo>
                <a:lnTo>
                  <a:pt x="1504230" y="715530"/>
                </a:lnTo>
                <a:close/>
                <a:moveTo>
                  <a:pt x="1682388" y="641824"/>
                </a:moveTo>
                <a:cubicBezTo>
                  <a:pt x="1682388" y="596818"/>
                  <a:pt x="1715018" y="565510"/>
                  <a:pt x="1760047" y="565510"/>
                </a:cubicBezTo>
                <a:cubicBezTo>
                  <a:pt x="1805077" y="565510"/>
                  <a:pt x="1837706" y="597470"/>
                  <a:pt x="1837706" y="641824"/>
                </a:cubicBezTo>
                <a:cubicBezTo>
                  <a:pt x="1837706" y="686830"/>
                  <a:pt x="1805077" y="717486"/>
                  <a:pt x="1760047" y="717486"/>
                </a:cubicBezTo>
                <a:cubicBezTo>
                  <a:pt x="1715018" y="718139"/>
                  <a:pt x="1682388" y="686830"/>
                  <a:pt x="1682388" y="641824"/>
                </a:cubicBezTo>
                <a:close/>
                <a:moveTo>
                  <a:pt x="1760047" y="690744"/>
                </a:moveTo>
                <a:cubicBezTo>
                  <a:pt x="1788109" y="690744"/>
                  <a:pt x="1807687" y="671176"/>
                  <a:pt x="1807687" y="641824"/>
                </a:cubicBezTo>
                <a:cubicBezTo>
                  <a:pt x="1807687" y="613125"/>
                  <a:pt x="1788109" y="592905"/>
                  <a:pt x="1760047" y="592905"/>
                </a:cubicBezTo>
                <a:cubicBezTo>
                  <a:pt x="1732638" y="592905"/>
                  <a:pt x="1712408" y="613125"/>
                  <a:pt x="1712408" y="641824"/>
                </a:cubicBezTo>
                <a:cubicBezTo>
                  <a:pt x="1712408" y="670523"/>
                  <a:pt x="1732638" y="690744"/>
                  <a:pt x="1760047" y="690744"/>
                </a:cubicBezTo>
                <a:close/>
                <a:moveTo>
                  <a:pt x="1954520" y="567466"/>
                </a:moveTo>
                <a:lnTo>
                  <a:pt x="1985845" y="567466"/>
                </a:lnTo>
                <a:lnTo>
                  <a:pt x="2033485" y="665958"/>
                </a:lnTo>
                <a:lnTo>
                  <a:pt x="2081124" y="567466"/>
                </a:lnTo>
                <a:lnTo>
                  <a:pt x="2112448" y="567466"/>
                </a:lnTo>
                <a:lnTo>
                  <a:pt x="2112448" y="715530"/>
                </a:lnTo>
                <a:lnTo>
                  <a:pt x="2083082" y="715530"/>
                </a:lnTo>
                <a:lnTo>
                  <a:pt x="2083082" y="624865"/>
                </a:lnTo>
                <a:lnTo>
                  <a:pt x="2043274" y="705746"/>
                </a:lnTo>
                <a:lnTo>
                  <a:pt x="2024348" y="705746"/>
                </a:lnTo>
                <a:lnTo>
                  <a:pt x="1984540" y="624865"/>
                </a:lnTo>
                <a:lnTo>
                  <a:pt x="1984540" y="715530"/>
                </a:lnTo>
                <a:lnTo>
                  <a:pt x="1955173" y="715530"/>
                </a:lnTo>
                <a:lnTo>
                  <a:pt x="1955173" y="567466"/>
                </a:lnTo>
                <a:close/>
                <a:moveTo>
                  <a:pt x="2152257" y="641824"/>
                </a:moveTo>
                <a:cubicBezTo>
                  <a:pt x="2152257" y="596818"/>
                  <a:pt x="2184886" y="565510"/>
                  <a:pt x="2229915" y="565510"/>
                </a:cubicBezTo>
                <a:cubicBezTo>
                  <a:pt x="2274945" y="565510"/>
                  <a:pt x="2307574" y="597470"/>
                  <a:pt x="2307574" y="641824"/>
                </a:cubicBezTo>
                <a:cubicBezTo>
                  <a:pt x="2307574" y="686830"/>
                  <a:pt x="2274945" y="717486"/>
                  <a:pt x="2229915" y="717486"/>
                </a:cubicBezTo>
                <a:cubicBezTo>
                  <a:pt x="2184886" y="718139"/>
                  <a:pt x="2152257" y="686830"/>
                  <a:pt x="2152257" y="641824"/>
                </a:cubicBezTo>
                <a:close/>
                <a:moveTo>
                  <a:pt x="2229915" y="690744"/>
                </a:moveTo>
                <a:cubicBezTo>
                  <a:pt x="2257977" y="690744"/>
                  <a:pt x="2277555" y="671176"/>
                  <a:pt x="2277555" y="641824"/>
                </a:cubicBezTo>
                <a:cubicBezTo>
                  <a:pt x="2277555" y="613125"/>
                  <a:pt x="2257977" y="592905"/>
                  <a:pt x="2229915" y="592905"/>
                </a:cubicBezTo>
                <a:cubicBezTo>
                  <a:pt x="2202506" y="592905"/>
                  <a:pt x="2182276" y="613125"/>
                  <a:pt x="2182276" y="641824"/>
                </a:cubicBezTo>
                <a:cubicBezTo>
                  <a:pt x="2182276" y="670523"/>
                  <a:pt x="2202506" y="690744"/>
                  <a:pt x="2229915" y="690744"/>
                </a:cubicBezTo>
                <a:close/>
                <a:moveTo>
                  <a:pt x="2342814" y="715530"/>
                </a:moveTo>
                <a:lnTo>
                  <a:pt x="2342814" y="567466"/>
                </a:lnTo>
                <a:lnTo>
                  <a:pt x="2408074" y="567466"/>
                </a:lnTo>
                <a:cubicBezTo>
                  <a:pt x="2440051" y="567466"/>
                  <a:pt x="2460934" y="586382"/>
                  <a:pt x="2460934" y="615081"/>
                </a:cubicBezTo>
                <a:cubicBezTo>
                  <a:pt x="2460934" y="633997"/>
                  <a:pt x="2450492" y="649651"/>
                  <a:pt x="2433525" y="656826"/>
                </a:cubicBezTo>
                <a:lnTo>
                  <a:pt x="2466807" y="715530"/>
                </a:lnTo>
                <a:lnTo>
                  <a:pt x="2434177" y="715530"/>
                </a:lnTo>
                <a:lnTo>
                  <a:pt x="2404158" y="661392"/>
                </a:lnTo>
                <a:lnTo>
                  <a:pt x="2372181" y="661392"/>
                </a:lnTo>
                <a:lnTo>
                  <a:pt x="2372181" y="714877"/>
                </a:lnTo>
                <a:lnTo>
                  <a:pt x="2342814" y="714877"/>
                </a:lnTo>
                <a:close/>
                <a:moveTo>
                  <a:pt x="2372181" y="635954"/>
                </a:moveTo>
                <a:lnTo>
                  <a:pt x="2406116" y="635954"/>
                </a:lnTo>
                <a:cubicBezTo>
                  <a:pt x="2422431" y="635954"/>
                  <a:pt x="2430914" y="626170"/>
                  <a:pt x="2430914" y="615081"/>
                </a:cubicBezTo>
                <a:cubicBezTo>
                  <a:pt x="2430914" y="602688"/>
                  <a:pt x="2422431" y="592905"/>
                  <a:pt x="2406116" y="592905"/>
                </a:cubicBezTo>
                <a:lnTo>
                  <a:pt x="2372181" y="592905"/>
                </a:lnTo>
                <a:lnTo>
                  <a:pt x="2372181" y="635954"/>
                </a:lnTo>
                <a:close/>
                <a:moveTo>
                  <a:pt x="2503353" y="567466"/>
                </a:moveTo>
                <a:lnTo>
                  <a:pt x="2609073" y="567466"/>
                </a:lnTo>
                <a:lnTo>
                  <a:pt x="2609073" y="592905"/>
                </a:lnTo>
                <a:lnTo>
                  <a:pt x="2533372" y="592905"/>
                </a:lnTo>
                <a:lnTo>
                  <a:pt x="2533372" y="626822"/>
                </a:lnTo>
                <a:lnTo>
                  <a:pt x="2598631" y="626822"/>
                </a:lnTo>
                <a:lnTo>
                  <a:pt x="2598631" y="652260"/>
                </a:lnTo>
                <a:lnTo>
                  <a:pt x="2532719" y="652260"/>
                </a:lnTo>
                <a:lnTo>
                  <a:pt x="2532719" y="690091"/>
                </a:lnTo>
                <a:lnTo>
                  <a:pt x="2610378" y="690091"/>
                </a:lnTo>
                <a:lnTo>
                  <a:pt x="2610378" y="715530"/>
                </a:lnTo>
                <a:lnTo>
                  <a:pt x="2503353" y="715530"/>
                </a:lnTo>
                <a:lnTo>
                  <a:pt x="2503353" y="567466"/>
                </a:lnTo>
                <a:close/>
              </a:path>
            </a:pathLst>
          </a:custGeom>
          <a:solidFill>
            <a:schemeClr val="bg1"/>
          </a:solidFill>
          <a:ln w="6526" cap="flat">
            <a:noFill/>
            <a:prstDash val="solid"/>
            <a:miter/>
          </a:ln>
        </p:spPr>
        <p:txBody>
          <a:bodyPr rtlCol="0" anchor="ctr"/>
          <a:lstStyle/>
          <a:p>
            <a:pPr marL="0" indent="0" rtl="0">
              <a:tabLst>
                <a:tab pos="755650" algn="l"/>
              </a:tabLst>
            </a:pPr>
            <a:endParaRPr lang="en-US" b="0" i="0">
              <a:latin typeface="Arial" panose="020B0604020202020204" pitchFamily="34" charset="0"/>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D244679D-DEC6-0DBD-6430-4B20084B780B}"/>
              </a:ext>
            </a:extLst>
          </p:cNvPr>
          <p:cNvSpPr/>
          <p:nvPr userDrawn="1"/>
        </p:nvSpPr>
        <p:spPr>
          <a:xfrm>
            <a:off x="336794" y="370317"/>
            <a:ext cx="8002276" cy="3461147"/>
          </a:xfrm>
          <a:prstGeom prst="rect">
            <a:avLst/>
          </a:prstGeom>
          <a:solidFill>
            <a:schemeClr val="tx1">
              <a:alpha val="402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100000"/>
              </a:lnSpc>
            </a:pPr>
            <a:endParaRPr lang="en-US">
              <a:latin typeface="Arial" panose="020B0604020202020204" pitchFamily="34" charset="0"/>
              <a:cs typeface="Arial" panose="020B0604020202020204" pitchFamily="34" charset="0"/>
              <a:sym typeface="Arial" panose="020B0604020202020204" pitchFamily="34" charset="0"/>
            </a:endParaRPr>
          </a:p>
        </p:txBody>
      </p:sp>
      <p:sp>
        <p:nvSpPr>
          <p:cNvPr id="3" name="Title 11">
            <a:extLst>
              <a:ext uri="{FF2B5EF4-FFF2-40B4-BE49-F238E27FC236}">
                <a16:creationId xmlns:a16="http://schemas.microsoft.com/office/drawing/2014/main" id="{6922242D-A4C0-F86F-586D-0ADACD9CD5FD}"/>
              </a:ext>
            </a:extLst>
          </p:cNvPr>
          <p:cNvSpPr>
            <a:spLocks noGrp="1"/>
          </p:cNvSpPr>
          <p:nvPr>
            <p:ph type="title" hasCustomPrompt="1"/>
          </p:nvPr>
        </p:nvSpPr>
        <p:spPr>
          <a:xfrm>
            <a:off x="690880" y="863246"/>
            <a:ext cx="7268264" cy="1396151"/>
          </a:xfrm>
        </p:spPr>
        <p:txBody>
          <a:bodyPr vert="horz" wrap="square" lIns="0" tIns="0" rIns="0" bIns="0" rtlCol="0" anchor="t" anchorCtr="0">
            <a:spAutoFit/>
          </a:bodyPr>
          <a:lstStyle>
            <a:lvl1pPr rtl="0">
              <a:lnSpc>
                <a:spcPct val="100000"/>
              </a:lnSpc>
              <a:defRPr lang="en-GB" sz="360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a:t>Title - &lt;please replace background with image from library&gt; </a:t>
            </a:r>
          </a:p>
        </p:txBody>
      </p:sp>
      <p:sp>
        <p:nvSpPr>
          <p:cNvPr id="8" name="Text Placeholder 16">
            <a:extLst>
              <a:ext uri="{FF2B5EF4-FFF2-40B4-BE49-F238E27FC236}">
                <a16:creationId xmlns:a16="http://schemas.microsoft.com/office/drawing/2014/main" id="{B17FA5BB-72A3-7913-67BD-60A88A813D24}"/>
              </a:ext>
            </a:extLst>
          </p:cNvPr>
          <p:cNvSpPr>
            <a:spLocks noGrp="1"/>
          </p:cNvSpPr>
          <p:nvPr>
            <p:ph type="body" sz="quarter" idx="13" hasCustomPrompt="1"/>
          </p:nvPr>
        </p:nvSpPr>
        <p:spPr>
          <a:xfrm>
            <a:off x="699554" y="2530267"/>
            <a:ext cx="7268264" cy="313932"/>
          </a:xfrm>
          <a:prstGeom prst="rect">
            <a:avLst/>
          </a:prstGeom>
        </p:spPr>
        <p:txBody>
          <a:bodyPr vert="horz" wrap="square" lIns="0" tIns="0" rIns="0" bIns="0" rtlCol="0" anchor="t" anchorCtr="0">
            <a:spAutoFit/>
          </a:bodyPr>
          <a:lstStyle>
            <a:lvl1pPr rtl="0">
              <a:lnSpc>
                <a:spcPct val="100000"/>
              </a:lnSpc>
              <a:defRPr lang="en-US" sz="2400" b="0" cap="none" dirty="0">
                <a:solidFill>
                  <a:schemeClr val="bg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a:t>Subtitle</a:t>
            </a:r>
          </a:p>
        </p:txBody>
      </p:sp>
      <p:sp>
        <p:nvSpPr>
          <p:cNvPr id="9" name="Text Placeholder 16">
            <a:extLst>
              <a:ext uri="{FF2B5EF4-FFF2-40B4-BE49-F238E27FC236}">
                <a16:creationId xmlns:a16="http://schemas.microsoft.com/office/drawing/2014/main" id="{7F261D25-2507-E7C0-B06D-96FE3BD4D7CE}"/>
              </a:ext>
            </a:extLst>
          </p:cNvPr>
          <p:cNvSpPr>
            <a:spLocks noGrp="1"/>
          </p:cNvSpPr>
          <p:nvPr>
            <p:ph type="body" sz="quarter" idx="14" hasCustomPrompt="1"/>
          </p:nvPr>
        </p:nvSpPr>
        <p:spPr>
          <a:xfrm>
            <a:off x="699554" y="3115068"/>
            <a:ext cx="7268264" cy="313932"/>
          </a:xfrm>
          <a:prstGeom prst="rect">
            <a:avLst/>
          </a:prstGeom>
        </p:spPr>
        <p:txBody>
          <a:bodyPr vert="horz" wrap="square" lIns="0" tIns="0" rIns="0" bIns="0" rtlCol="0" anchor="t" anchorCtr="0">
            <a:spAutoFit/>
          </a:bodyPr>
          <a:lstStyle>
            <a:lvl1pPr rtl="0">
              <a:lnSpc>
                <a:spcPct val="100000"/>
              </a:lnSpc>
              <a:defRPr lang="en-US" sz="2400" b="0" cap="none" dirty="0">
                <a:solidFill>
                  <a:schemeClr val="bg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a:t>Date</a:t>
            </a:r>
          </a:p>
        </p:txBody>
      </p:sp>
    </p:spTree>
    <p:extLst>
      <p:ext uri="{BB962C8B-B14F-4D97-AF65-F5344CB8AC3E}">
        <p14:creationId xmlns:p14="http://schemas.microsoft.com/office/powerpoint/2010/main" val="400086523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slide - Image - Ligh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381119C-646E-27FB-4978-EB720297A8F4}"/>
              </a:ext>
            </a:extLst>
          </p:cNvPr>
          <p:cNvGraphicFramePr>
            <a:graphicFrameLocks noChangeAspect="1"/>
          </p:cNvGraphicFramePr>
          <p:nvPr userDrawn="1">
            <p:custDataLst>
              <p:tags r:id="rId1"/>
            </p:custDataLst>
            <p:extLst>
              <p:ext uri="{D42A27DB-BD31-4B8C-83A1-F6EECF244321}">
                <p14:modId xmlns:p14="http://schemas.microsoft.com/office/powerpoint/2010/main" val="917150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1" name="think-cell data - do not delete" hidden="1">
                        <a:extLst>
                          <a:ext uri="{FF2B5EF4-FFF2-40B4-BE49-F238E27FC236}">
                            <a16:creationId xmlns:a16="http://schemas.microsoft.com/office/drawing/2014/main" id="{7381119C-646E-27FB-4978-EB720297A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Graphic 43">
            <a:extLst>
              <a:ext uri="{FF2B5EF4-FFF2-40B4-BE49-F238E27FC236}">
                <a16:creationId xmlns:a16="http://schemas.microsoft.com/office/drawing/2014/main" id="{64BA5F1C-57B6-976F-C1D2-5482358C3DD1}"/>
              </a:ext>
            </a:extLst>
          </p:cNvPr>
          <p:cNvSpPr>
            <a:spLocks noChangeAspect="1"/>
          </p:cNvSpPr>
          <p:nvPr userDrawn="1"/>
        </p:nvSpPr>
        <p:spPr>
          <a:xfrm>
            <a:off x="690880" y="6228000"/>
            <a:ext cx="1440000" cy="396112"/>
          </a:xfrm>
          <a:custGeom>
            <a:avLst/>
            <a:gdLst>
              <a:gd name="connsiteX0" fmla="*/ 219924 w 2610377"/>
              <a:gd name="connsiteY0" fmla="*/ 234161 h 717496"/>
              <a:gd name="connsiteX1" fmla="*/ 308677 w 2610377"/>
              <a:gd name="connsiteY1" fmla="*/ 120016 h 717496"/>
              <a:gd name="connsiteX2" fmla="*/ 173590 w 2610377"/>
              <a:gd name="connsiteY2" fmla="*/ 0 h 717496"/>
              <a:gd name="connsiteX3" fmla="*/ 653 w 2610377"/>
              <a:gd name="connsiteY3" fmla="*/ 0 h 717496"/>
              <a:gd name="connsiteX4" fmla="*/ 653 w 2610377"/>
              <a:gd name="connsiteY4" fmla="*/ 404401 h 717496"/>
              <a:gd name="connsiteX5" fmla="*/ 49597 w 2610377"/>
              <a:gd name="connsiteY5" fmla="*/ 404401 h 717496"/>
              <a:gd name="connsiteX6" fmla="*/ 49597 w 2610377"/>
              <a:gd name="connsiteY6" fmla="*/ 240032 h 717496"/>
              <a:gd name="connsiteX7" fmla="*/ 167064 w 2610377"/>
              <a:gd name="connsiteY7" fmla="*/ 240032 h 717496"/>
              <a:gd name="connsiteX8" fmla="*/ 262343 w 2610377"/>
              <a:gd name="connsiteY8" fmla="*/ 404401 h 717496"/>
              <a:gd name="connsiteX9" fmla="*/ 320424 w 2610377"/>
              <a:gd name="connsiteY9" fmla="*/ 404401 h 717496"/>
              <a:gd name="connsiteX10" fmla="*/ 219924 w 2610377"/>
              <a:gd name="connsiteY10" fmla="*/ 234161 h 717496"/>
              <a:gd name="connsiteX11" fmla="*/ 49597 w 2610377"/>
              <a:gd name="connsiteY11" fmla="*/ 196330 h 717496"/>
              <a:gd name="connsiteX12" fmla="*/ 49597 w 2610377"/>
              <a:gd name="connsiteY12" fmla="*/ 45006 h 717496"/>
              <a:gd name="connsiteX13" fmla="*/ 170980 w 2610377"/>
              <a:gd name="connsiteY13" fmla="*/ 45006 h 717496"/>
              <a:gd name="connsiteX14" fmla="*/ 256470 w 2610377"/>
              <a:gd name="connsiteY14" fmla="*/ 120668 h 717496"/>
              <a:gd name="connsiteX15" fmla="*/ 170980 w 2610377"/>
              <a:gd name="connsiteY15" fmla="*/ 196983 h 717496"/>
              <a:gd name="connsiteX16" fmla="*/ 49597 w 2610377"/>
              <a:gd name="connsiteY16" fmla="*/ 196983 h 717496"/>
              <a:gd name="connsiteX17" fmla="*/ 1414825 w 2610377"/>
              <a:gd name="connsiteY17" fmla="*/ 652 h 717496"/>
              <a:gd name="connsiteX18" fmla="*/ 1465075 w 2610377"/>
              <a:gd name="connsiteY18" fmla="*/ 652 h 717496"/>
              <a:gd name="connsiteX19" fmla="*/ 1344997 w 2610377"/>
              <a:gd name="connsiteY19" fmla="*/ 405054 h 717496"/>
              <a:gd name="connsiteX20" fmla="*/ 1273212 w 2610377"/>
              <a:gd name="connsiteY20" fmla="*/ 405054 h 717496"/>
              <a:gd name="connsiteX21" fmla="*/ 1172712 w 2610377"/>
              <a:gd name="connsiteY21" fmla="*/ 75662 h 717496"/>
              <a:gd name="connsiteX22" fmla="*/ 1072213 w 2610377"/>
              <a:gd name="connsiteY22" fmla="*/ 405054 h 717496"/>
              <a:gd name="connsiteX23" fmla="*/ 1000427 w 2610377"/>
              <a:gd name="connsiteY23" fmla="*/ 405054 h 717496"/>
              <a:gd name="connsiteX24" fmla="*/ 880350 w 2610377"/>
              <a:gd name="connsiteY24" fmla="*/ 652 h 717496"/>
              <a:gd name="connsiteX25" fmla="*/ 930600 w 2610377"/>
              <a:gd name="connsiteY25" fmla="*/ 652 h 717496"/>
              <a:gd name="connsiteX26" fmla="*/ 1036973 w 2610377"/>
              <a:gd name="connsiteY26" fmla="*/ 354830 h 717496"/>
              <a:gd name="connsiteX27" fmla="*/ 1146609 w 2610377"/>
              <a:gd name="connsiteY27" fmla="*/ 3914 h 717496"/>
              <a:gd name="connsiteX28" fmla="*/ 1198816 w 2610377"/>
              <a:gd name="connsiteY28" fmla="*/ 3914 h 717496"/>
              <a:gd name="connsiteX29" fmla="*/ 1308452 w 2610377"/>
              <a:gd name="connsiteY29" fmla="*/ 354830 h 717496"/>
              <a:gd name="connsiteX30" fmla="*/ 1414825 w 2610377"/>
              <a:gd name="connsiteY30" fmla="*/ 652 h 717496"/>
              <a:gd name="connsiteX31" fmla="*/ 1621697 w 2610377"/>
              <a:gd name="connsiteY31" fmla="*/ 652 h 717496"/>
              <a:gd name="connsiteX32" fmla="*/ 1670642 w 2610377"/>
              <a:gd name="connsiteY32" fmla="*/ 652 h 717496"/>
              <a:gd name="connsiteX33" fmla="*/ 1670642 w 2610377"/>
              <a:gd name="connsiteY33" fmla="*/ 405054 h 717496"/>
              <a:gd name="connsiteX34" fmla="*/ 1621697 w 2610377"/>
              <a:gd name="connsiteY34" fmla="*/ 405054 h 717496"/>
              <a:gd name="connsiteX35" fmla="*/ 1621697 w 2610377"/>
              <a:gd name="connsiteY35" fmla="*/ 652 h 717496"/>
              <a:gd name="connsiteX36" fmla="*/ 752442 w 2610377"/>
              <a:gd name="connsiteY36" fmla="*/ 405054 h 717496"/>
              <a:gd name="connsiteX37" fmla="*/ 467910 w 2610377"/>
              <a:gd name="connsiteY37" fmla="*/ 405054 h 717496"/>
              <a:gd name="connsiteX38" fmla="*/ 467910 w 2610377"/>
              <a:gd name="connsiteY38" fmla="*/ 652 h 717496"/>
              <a:gd name="connsiteX39" fmla="*/ 745916 w 2610377"/>
              <a:gd name="connsiteY39" fmla="*/ 652 h 717496"/>
              <a:gd name="connsiteX40" fmla="*/ 745916 w 2610377"/>
              <a:gd name="connsiteY40" fmla="*/ 45006 h 717496"/>
              <a:gd name="connsiteX41" fmla="*/ 516855 w 2610377"/>
              <a:gd name="connsiteY41" fmla="*/ 45006 h 717496"/>
              <a:gd name="connsiteX42" fmla="*/ 516855 w 2610377"/>
              <a:gd name="connsiteY42" fmla="*/ 174806 h 717496"/>
              <a:gd name="connsiteX43" fmla="*/ 714591 w 2610377"/>
              <a:gd name="connsiteY43" fmla="*/ 174806 h 717496"/>
              <a:gd name="connsiteX44" fmla="*/ 714591 w 2610377"/>
              <a:gd name="connsiteY44" fmla="*/ 219159 h 717496"/>
              <a:gd name="connsiteX45" fmla="*/ 516855 w 2610377"/>
              <a:gd name="connsiteY45" fmla="*/ 219159 h 717496"/>
              <a:gd name="connsiteX46" fmla="*/ 516855 w 2610377"/>
              <a:gd name="connsiteY46" fmla="*/ 360048 h 717496"/>
              <a:gd name="connsiteX47" fmla="*/ 752442 w 2610377"/>
              <a:gd name="connsiteY47" fmla="*/ 360048 h 717496"/>
              <a:gd name="connsiteX48" fmla="*/ 752442 w 2610377"/>
              <a:gd name="connsiteY48" fmla="*/ 405054 h 717496"/>
              <a:gd name="connsiteX49" fmla="*/ 2077861 w 2610377"/>
              <a:gd name="connsiteY49" fmla="*/ 234161 h 717496"/>
              <a:gd name="connsiteX50" fmla="*/ 2166614 w 2610377"/>
              <a:gd name="connsiteY50" fmla="*/ 120016 h 717496"/>
              <a:gd name="connsiteX51" fmla="*/ 2031527 w 2610377"/>
              <a:gd name="connsiteY51" fmla="*/ 0 h 717496"/>
              <a:gd name="connsiteX52" fmla="*/ 1858589 w 2610377"/>
              <a:gd name="connsiteY52" fmla="*/ 0 h 717496"/>
              <a:gd name="connsiteX53" fmla="*/ 1858589 w 2610377"/>
              <a:gd name="connsiteY53" fmla="*/ 404401 h 717496"/>
              <a:gd name="connsiteX54" fmla="*/ 1907534 w 2610377"/>
              <a:gd name="connsiteY54" fmla="*/ 404401 h 717496"/>
              <a:gd name="connsiteX55" fmla="*/ 1907534 w 2610377"/>
              <a:gd name="connsiteY55" fmla="*/ 240032 h 717496"/>
              <a:gd name="connsiteX56" fmla="*/ 2025001 w 2610377"/>
              <a:gd name="connsiteY56" fmla="*/ 240032 h 717496"/>
              <a:gd name="connsiteX57" fmla="*/ 2120280 w 2610377"/>
              <a:gd name="connsiteY57" fmla="*/ 404401 h 717496"/>
              <a:gd name="connsiteX58" fmla="*/ 2178360 w 2610377"/>
              <a:gd name="connsiteY58" fmla="*/ 404401 h 717496"/>
              <a:gd name="connsiteX59" fmla="*/ 2077861 w 2610377"/>
              <a:gd name="connsiteY59" fmla="*/ 234161 h 717496"/>
              <a:gd name="connsiteX60" fmla="*/ 1907534 w 2610377"/>
              <a:gd name="connsiteY60" fmla="*/ 196330 h 717496"/>
              <a:gd name="connsiteX61" fmla="*/ 1907534 w 2610377"/>
              <a:gd name="connsiteY61" fmla="*/ 45006 h 717496"/>
              <a:gd name="connsiteX62" fmla="*/ 2029569 w 2610377"/>
              <a:gd name="connsiteY62" fmla="*/ 45006 h 717496"/>
              <a:gd name="connsiteX63" fmla="*/ 2115059 w 2610377"/>
              <a:gd name="connsiteY63" fmla="*/ 120668 h 717496"/>
              <a:gd name="connsiteX64" fmla="*/ 2029569 w 2610377"/>
              <a:gd name="connsiteY64" fmla="*/ 196983 h 717496"/>
              <a:gd name="connsiteX65" fmla="*/ 1907534 w 2610377"/>
              <a:gd name="connsiteY65" fmla="*/ 196983 h 717496"/>
              <a:gd name="connsiteX66" fmla="*/ 2610378 w 2610377"/>
              <a:gd name="connsiteY66" fmla="*/ 652 h 717496"/>
              <a:gd name="connsiteX67" fmla="*/ 2610378 w 2610377"/>
              <a:gd name="connsiteY67" fmla="*/ 405054 h 717496"/>
              <a:gd name="connsiteX68" fmla="*/ 2325847 w 2610377"/>
              <a:gd name="connsiteY68" fmla="*/ 405054 h 717496"/>
              <a:gd name="connsiteX69" fmla="*/ 2325847 w 2610377"/>
              <a:gd name="connsiteY69" fmla="*/ 360700 h 717496"/>
              <a:gd name="connsiteX70" fmla="*/ 2561433 w 2610377"/>
              <a:gd name="connsiteY70" fmla="*/ 360700 h 717496"/>
              <a:gd name="connsiteX71" fmla="*/ 2561433 w 2610377"/>
              <a:gd name="connsiteY71" fmla="*/ 219812 h 717496"/>
              <a:gd name="connsiteX72" fmla="*/ 2363697 w 2610377"/>
              <a:gd name="connsiteY72" fmla="*/ 219812 h 717496"/>
              <a:gd name="connsiteX73" fmla="*/ 2363697 w 2610377"/>
              <a:gd name="connsiteY73" fmla="*/ 175458 h 717496"/>
              <a:gd name="connsiteX74" fmla="*/ 2561433 w 2610377"/>
              <a:gd name="connsiteY74" fmla="*/ 175458 h 717496"/>
              <a:gd name="connsiteX75" fmla="*/ 2561433 w 2610377"/>
              <a:gd name="connsiteY75" fmla="*/ 45658 h 717496"/>
              <a:gd name="connsiteX76" fmla="*/ 2332373 w 2610377"/>
              <a:gd name="connsiteY76" fmla="*/ 45658 h 717496"/>
              <a:gd name="connsiteX77" fmla="*/ 2332373 w 2610377"/>
              <a:gd name="connsiteY77" fmla="*/ 1305 h 717496"/>
              <a:gd name="connsiteX78" fmla="*/ 2610378 w 2610377"/>
              <a:gd name="connsiteY78" fmla="*/ 1305 h 717496"/>
              <a:gd name="connsiteX79" fmla="*/ 29367 w 2610377"/>
              <a:gd name="connsiteY79" fmla="*/ 715530 h 717496"/>
              <a:gd name="connsiteX80" fmla="*/ 0 w 2610377"/>
              <a:gd name="connsiteY80" fmla="*/ 715530 h 717496"/>
              <a:gd name="connsiteX81" fmla="*/ 0 w 2610377"/>
              <a:gd name="connsiteY81" fmla="*/ 567466 h 717496"/>
              <a:gd name="connsiteX82" fmla="*/ 29367 w 2610377"/>
              <a:gd name="connsiteY82" fmla="*/ 567466 h 717496"/>
              <a:gd name="connsiteX83" fmla="*/ 29367 w 2610377"/>
              <a:gd name="connsiteY83" fmla="*/ 715530 h 717496"/>
              <a:gd name="connsiteX84" fmla="*/ 78964 w 2610377"/>
              <a:gd name="connsiteY84" fmla="*/ 567466 h 717496"/>
              <a:gd name="connsiteX85" fmla="*/ 110289 w 2610377"/>
              <a:gd name="connsiteY85" fmla="*/ 567466 h 717496"/>
              <a:gd name="connsiteX86" fmla="*/ 157928 w 2610377"/>
              <a:gd name="connsiteY86" fmla="*/ 665958 h 717496"/>
              <a:gd name="connsiteX87" fmla="*/ 205567 w 2610377"/>
              <a:gd name="connsiteY87" fmla="*/ 567466 h 717496"/>
              <a:gd name="connsiteX88" fmla="*/ 236892 w 2610377"/>
              <a:gd name="connsiteY88" fmla="*/ 567466 h 717496"/>
              <a:gd name="connsiteX89" fmla="*/ 236892 w 2610377"/>
              <a:gd name="connsiteY89" fmla="*/ 715530 h 717496"/>
              <a:gd name="connsiteX90" fmla="*/ 207525 w 2610377"/>
              <a:gd name="connsiteY90" fmla="*/ 715530 h 717496"/>
              <a:gd name="connsiteX91" fmla="*/ 207525 w 2610377"/>
              <a:gd name="connsiteY91" fmla="*/ 624865 h 717496"/>
              <a:gd name="connsiteX92" fmla="*/ 167717 w 2610377"/>
              <a:gd name="connsiteY92" fmla="*/ 705746 h 717496"/>
              <a:gd name="connsiteX93" fmla="*/ 148792 w 2610377"/>
              <a:gd name="connsiteY93" fmla="*/ 705746 h 717496"/>
              <a:gd name="connsiteX94" fmla="*/ 108983 w 2610377"/>
              <a:gd name="connsiteY94" fmla="*/ 624865 h 717496"/>
              <a:gd name="connsiteX95" fmla="*/ 108983 w 2610377"/>
              <a:gd name="connsiteY95" fmla="*/ 715530 h 717496"/>
              <a:gd name="connsiteX96" fmla="*/ 79617 w 2610377"/>
              <a:gd name="connsiteY96" fmla="*/ 715530 h 717496"/>
              <a:gd name="connsiteX97" fmla="*/ 79617 w 2610377"/>
              <a:gd name="connsiteY97" fmla="*/ 567466 h 717496"/>
              <a:gd name="connsiteX98" fmla="*/ 281921 w 2610377"/>
              <a:gd name="connsiteY98" fmla="*/ 715530 h 717496"/>
              <a:gd name="connsiteX99" fmla="*/ 281921 w 2610377"/>
              <a:gd name="connsiteY99" fmla="*/ 567466 h 717496"/>
              <a:gd name="connsiteX100" fmla="*/ 346528 w 2610377"/>
              <a:gd name="connsiteY100" fmla="*/ 567466 h 717496"/>
              <a:gd name="connsiteX101" fmla="*/ 399388 w 2610377"/>
              <a:gd name="connsiteY101" fmla="*/ 616386 h 717496"/>
              <a:gd name="connsiteX102" fmla="*/ 346528 w 2610377"/>
              <a:gd name="connsiteY102" fmla="*/ 664653 h 717496"/>
              <a:gd name="connsiteX103" fmla="*/ 311288 w 2610377"/>
              <a:gd name="connsiteY103" fmla="*/ 664653 h 717496"/>
              <a:gd name="connsiteX104" fmla="*/ 311288 w 2610377"/>
              <a:gd name="connsiteY104" fmla="*/ 715530 h 717496"/>
              <a:gd name="connsiteX105" fmla="*/ 281921 w 2610377"/>
              <a:gd name="connsiteY105" fmla="*/ 715530 h 717496"/>
              <a:gd name="connsiteX106" fmla="*/ 311288 w 2610377"/>
              <a:gd name="connsiteY106" fmla="*/ 639215 h 717496"/>
              <a:gd name="connsiteX107" fmla="*/ 344570 w 2610377"/>
              <a:gd name="connsiteY107" fmla="*/ 639215 h 717496"/>
              <a:gd name="connsiteX108" fmla="*/ 369369 w 2610377"/>
              <a:gd name="connsiteY108" fmla="*/ 616386 h 717496"/>
              <a:gd name="connsiteX109" fmla="*/ 344570 w 2610377"/>
              <a:gd name="connsiteY109" fmla="*/ 592905 h 717496"/>
              <a:gd name="connsiteX110" fmla="*/ 311288 w 2610377"/>
              <a:gd name="connsiteY110" fmla="*/ 592905 h 717496"/>
              <a:gd name="connsiteX111" fmla="*/ 311288 w 2610377"/>
              <a:gd name="connsiteY111" fmla="*/ 639215 h 717496"/>
              <a:gd name="connsiteX112" fmla="*/ 426144 w 2610377"/>
              <a:gd name="connsiteY112" fmla="*/ 641824 h 717496"/>
              <a:gd name="connsiteX113" fmla="*/ 503803 w 2610377"/>
              <a:gd name="connsiteY113" fmla="*/ 565510 h 717496"/>
              <a:gd name="connsiteX114" fmla="*/ 581462 w 2610377"/>
              <a:gd name="connsiteY114" fmla="*/ 641824 h 717496"/>
              <a:gd name="connsiteX115" fmla="*/ 503803 w 2610377"/>
              <a:gd name="connsiteY115" fmla="*/ 717486 h 717496"/>
              <a:gd name="connsiteX116" fmla="*/ 426144 w 2610377"/>
              <a:gd name="connsiteY116" fmla="*/ 641824 h 717496"/>
              <a:gd name="connsiteX117" fmla="*/ 503803 w 2610377"/>
              <a:gd name="connsiteY117" fmla="*/ 690744 h 717496"/>
              <a:gd name="connsiteX118" fmla="*/ 551442 w 2610377"/>
              <a:gd name="connsiteY118" fmla="*/ 641824 h 717496"/>
              <a:gd name="connsiteX119" fmla="*/ 503803 w 2610377"/>
              <a:gd name="connsiteY119" fmla="*/ 592905 h 717496"/>
              <a:gd name="connsiteX120" fmla="*/ 456164 w 2610377"/>
              <a:gd name="connsiteY120" fmla="*/ 641824 h 717496"/>
              <a:gd name="connsiteX121" fmla="*/ 503803 w 2610377"/>
              <a:gd name="connsiteY121" fmla="*/ 690744 h 717496"/>
              <a:gd name="connsiteX122" fmla="*/ 629754 w 2610377"/>
              <a:gd name="connsiteY122" fmla="*/ 667262 h 717496"/>
              <a:gd name="connsiteX123" fmla="*/ 667604 w 2610377"/>
              <a:gd name="connsiteY123" fmla="*/ 691396 h 717496"/>
              <a:gd name="connsiteX124" fmla="*/ 693055 w 2610377"/>
              <a:gd name="connsiteY124" fmla="*/ 675089 h 717496"/>
              <a:gd name="connsiteX125" fmla="*/ 664341 w 2610377"/>
              <a:gd name="connsiteY125" fmla="*/ 654217 h 717496"/>
              <a:gd name="connsiteX126" fmla="*/ 612786 w 2610377"/>
              <a:gd name="connsiteY126" fmla="*/ 607907 h 717496"/>
              <a:gd name="connsiteX127" fmla="*/ 664994 w 2610377"/>
              <a:gd name="connsiteY127" fmla="*/ 565510 h 717496"/>
              <a:gd name="connsiteX128" fmla="*/ 719812 w 2610377"/>
              <a:gd name="connsiteY128" fmla="*/ 597470 h 717496"/>
              <a:gd name="connsiteX129" fmla="*/ 696971 w 2610377"/>
              <a:gd name="connsiteY129" fmla="*/ 613777 h 717496"/>
              <a:gd name="connsiteX130" fmla="*/ 664341 w 2610377"/>
              <a:gd name="connsiteY130" fmla="*/ 592252 h 717496"/>
              <a:gd name="connsiteX131" fmla="*/ 642806 w 2610377"/>
              <a:gd name="connsiteY131" fmla="*/ 607907 h 717496"/>
              <a:gd name="connsiteX132" fmla="*/ 672172 w 2610377"/>
              <a:gd name="connsiteY132" fmla="*/ 628127 h 717496"/>
              <a:gd name="connsiteX133" fmla="*/ 723075 w 2610377"/>
              <a:gd name="connsiteY133" fmla="*/ 674437 h 717496"/>
              <a:gd name="connsiteX134" fmla="*/ 666952 w 2610377"/>
              <a:gd name="connsiteY134" fmla="*/ 717486 h 717496"/>
              <a:gd name="connsiteX135" fmla="*/ 607566 w 2610377"/>
              <a:gd name="connsiteY135" fmla="*/ 682264 h 717496"/>
              <a:gd name="connsiteX136" fmla="*/ 629754 w 2610377"/>
              <a:gd name="connsiteY136" fmla="*/ 667262 h 717496"/>
              <a:gd name="connsiteX137" fmla="*/ 770714 w 2610377"/>
              <a:gd name="connsiteY137" fmla="*/ 667262 h 717496"/>
              <a:gd name="connsiteX138" fmla="*/ 808565 w 2610377"/>
              <a:gd name="connsiteY138" fmla="*/ 691396 h 717496"/>
              <a:gd name="connsiteX139" fmla="*/ 834016 w 2610377"/>
              <a:gd name="connsiteY139" fmla="*/ 675089 h 717496"/>
              <a:gd name="connsiteX140" fmla="*/ 805302 w 2610377"/>
              <a:gd name="connsiteY140" fmla="*/ 654217 h 717496"/>
              <a:gd name="connsiteX141" fmla="*/ 753747 w 2610377"/>
              <a:gd name="connsiteY141" fmla="*/ 607907 h 717496"/>
              <a:gd name="connsiteX142" fmla="*/ 805954 w 2610377"/>
              <a:gd name="connsiteY142" fmla="*/ 565510 h 717496"/>
              <a:gd name="connsiteX143" fmla="*/ 860772 w 2610377"/>
              <a:gd name="connsiteY143" fmla="*/ 597470 h 717496"/>
              <a:gd name="connsiteX144" fmla="*/ 837931 w 2610377"/>
              <a:gd name="connsiteY144" fmla="*/ 613777 h 717496"/>
              <a:gd name="connsiteX145" fmla="*/ 805302 w 2610377"/>
              <a:gd name="connsiteY145" fmla="*/ 592252 h 717496"/>
              <a:gd name="connsiteX146" fmla="*/ 783766 w 2610377"/>
              <a:gd name="connsiteY146" fmla="*/ 607907 h 717496"/>
              <a:gd name="connsiteX147" fmla="*/ 813133 w 2610377"/>
              <a:gd name="connsiteY147" fmla="*/ 628127 h 717496"/>
              <a:gd name="connsiteX148" fmla="*/ 864035 w 2610377"/>
              <a:gd name="connsiteY148" fmla="*/ 674437 h 717496"/>
              <a:gd name="connsiteX149" fmla="*/ 807912 w 2610377"/>
              <a:gd name="connsiteY149" fmla="*/ 717486 h 717496"/>
              <a:gd name="connsiteX150" fmla="*/ 748526 w 2610377"/>
              <a:gd name="connsiteY150" fmla="*/ 682264 h 717496"/>
              <a:gd name="connsiteX151" fmla="*/ 770714 w 2610377"/>
              <a:gd name="connsiteY151" fmla="*/ 667262 h 717496"/>
              <a:gd name="connsiteX152" fmla="*/ 933863 w 2610377"/>
              <a:gd name="connsiteY152" fmla="*/ 715530 h 717496"/>
              <a:gd name="connsiteX153" fmla="*/ 904496 w 2610377"/>
              <a:gd name="connsiteY153" fmla="*/ 715530 h 717496"/>
              <a:gd name="connsiteX154" fmla="*/ 904496 w 2610377"/>
              <a:gd name="connsiteY154" fmla="*/ 567466 h 717496"/>
              <a:gd name="connsiteX155" fmla="*/ 933863 w 2610377"/>
              <a:gd name="connsiteY155" fmla="*/ 567466 h 717496"/>
              <a:gd name="connsiteX156" fmla="*/ 933863 w 2610377"/>
              <a:gd name="connsiteY156" fmla="*/ 715530 h 717496"/>
              <a:gd name="connsiteX157" fmla="*/ 978892 w 2610377"/>
              <a:gd name="connsiteY157" fmla="*/ 567466 h 717496"/>
              <a:gd name="connsiteX158" fmla="*/ 1047414 w 2610377"/>
              <a:gd name="connsiteY158" fmla="*/ 567466 h 717496"/>
              <a:gd name="connsiteX159" fmla="*/ 1093096 w 2610377"/>
              <a:gd name="connsiteY159" fmla="*/ 607907 h 717496"/>
              <a:gd name="connsiteX160" fmla="*/ 1073518 w 2610377"/>
              <a:gd name="connsiteY160" fmla="*/ 638563 h 717496"/>
              <a:gd name="connsiteX161" fmla="*/ 1098316 w 2610377"/>
              <a:gd name="connsiteY161" fmla="*/ 674437 h 717496"/>
              <a:gd name="connsiteX162" fmla="*/ 1051982 w 2610377"/>
              <a:gd name="connsiteY162" fmla="*/ 715530 h 717496"/>
              <a:gd name="connsiteX163" fmla="*/ 978892 w 2610377"/>
              <a:gd name="connsiteY163" fmla="*/ 715530 h 717496"/>
              <a:gd name="connsiteX164" fmla="*/ 978892 w 2610377"/>
              <a:gd name="connsiteY164" fmla="*/ 567466 h 717496"/>
              <a:gd name="connsiteX165" fmla="*/ 1008258 w 2610377"/>
              <a:gd name="connsiteY165" fmla="*/ 592905 h 717496"/>
              <a:gd name="connsiteX166" fmla="*/ 1008258 w 2610377"/>
              <a:gd name="connsiteY166" fmla="*/ 629431 h 717496"/>
              <a:gd name="connsiteX167" fmla="*/ 1042846 w 2610377"/>
              <a:gd name="connsiteY167" fmla="*/ 629431 h 717496"/>
              <a:gd name="connsiteX168" fmla="*/ 1062424 w 2610377"/>
              <a:gd name="connsiteY168" fmla="*/ 611820 h 717496"/>
              <a:gd name="connsiteX169" fmla="*/ 1042193 w 2610377"/>
              <a:gd name="connsiteY169" fmla="*/ 593557 h 717496"/>
              <a:gd name="connsiteX170" fmla="*/ 1008258 w 2610377"/>
              <a:gd name="connsiteY170" fmla="*/ 593557 h 717496"/>
              <a:gd name="connsiteX171" fmla="*/ 1008258 w 2610377"/>
              <a:gd name="connsiteY171" fmla="*/ 652260 h 717496"/>
              <a:gd name="connsiteX172" fmla="*/ 1008258 w 2610377"/>
              <a:gd name="connsiteY172" fmla="*/ 690744 h 717496"/>
              <a:gd name="connsiteX173" fmla="*/ 1046762 w 2610377"/>
              <a:gd name="connsiteY173" fmla="*/ 690744 h 717496"/>
              <a:gd name="connsiteX174" fmla="*/ 1066340 w 2610377"/>
              <a:gd name="connsiteY174" fmla="*/ 672480 h 717496"/>
              <a:gd name="connsiteX175" fmla="*/ 1046762 w 2610377"/>
              <a:gd name="connsiteY175" fmla="*/ 652260 h 717496"/>
              <a:gd name="connsiteX176" fmla="*/ 1008258 w 2610377"/>
              <a:gd name="connsiteY176" fmla="*/ 652260 h 717496"/>
              <a:gd name="connsiteX177" fmla="*/ 1247108 w 2610377"/>
              <a:gd name="connsiteY177" fmla="*/ 715530 h 717496"/>
              <a:gd name="connsiteX178" fmla="*/ 1137472 w 2610377"/>
              <a:gd name="connsiteY178" fmla="*/ 715530 h 717496"/>
              <a:gd name="connsiteX179" fmla="*/ 1137472 w 2610377"/>
              <a:gd name="connsiteY179" fmla="*/ 567466 h 717496"/>
              <a:gd name="connsiteX180" fmla="*/ 1166839 w 2610377"/>
              <a:gd name="connsiteY180" fmla="*/ 567466 h 717496"/>
              <a:gd name="connsiteX181" fmla="*/ 1166839 w 2610377"/>
              <a:gd name="connsiteY181" fmla="*/ 690091 h 717496"/>
              <a:gd name="connsiteX182" fmla="*/ 1246455 w 2610377"/>
              <a:gd name="connsiteY182" fmla="*/ 690091 h 717496"/>
              <a:gd name="connsiteX183" fmla="*/ 1246455 w 2610377"/>
              <a:gd name="connsiteY183" fmla="*/ 715530 h 717496"/>
              <a:gd name="connsiteX184" fmla="*/ 1281043 w 2610377"/>
              <a:gd name="connsiteY184" fmla="*/ 567466 h 717496"/>
              <a:gd name="connsiteX185" fmla="*/ 1386763 w 2610377"/>
              <a:gd name="connsiteY185" fmla="*/ 567466 h 717496"/>
              <a:gd name="connsiteX186" fmla="*/ 1386763 w 2610377"/>
              <a:gd name="connsiteY186" fmla="*/ 592905 h 717496"/>
              <a:gd name="connsiteX187" fmla="*/ 1311062 w 2610377"/>
              <a:gd name="connsiteY187" fmla="*/ 592905 h 717496"/>
              <a:gd name="connsiteX188" fmla="*/ 1311062 w 2610377"/>
              <a:gd name="connsiteY188" fmla="*/ 626822 h 717496"/>
              <a:gd name="connsiteX189" fmla="*/ 1376974 w 2610377"/>
              <a:gd name="connsiteY189" fmla="*/ 626822 h 717496"/>
              <a:gd name="connsiteX190" fmla="*/ 1376974 w 2610377"/>
              <a:gd name="connsiteY190" fmla="*/ 652260 h 717496"/>
              <a:gd name="connsiteX191" fmla="*/ 1311062 w 2610377"/>
              <a:gd name="connsiteY191" fmla="*/ 652260 h 717496"/>
              <a:gd name="connsiteX192" fmla="*/ 1311062 w 2610377"/>
              <a:gd name="connsiteY192" fmla="*/ 690091 h 717496"/>
              <a:gd name="connsiteX193" fmla="*/ 1388721 w 2610377"/>
              <a:gd name="connsiteY193" fmla="*/ 690091 h 717496"/>
              <a:gd name="connsiteX194" fmla="*/ 1388721 w 2610377"/>
              <a:gd name="connsiteY194" fmla="*/ 715530 h 717496"/>
              <a:gd name="connsiteX195" fmla="*/ 1281696 w 2610377"/>
              <a:gd name="connsiteY195" fmla="*/ 715530 h 717496"/>
              <a:gd name="connsiteX196" fmla="*/ 1281696 w 2610377"/>
              <a:gd name="connsiteY196" fmla="*/ 567466 h 717496"/>
              <a:gd name="connsiteX197" fmla="*/ 1504230 w 2610377"/>
              <a:gd name="connsiteY197" fmla="*/ 715530 h 717496"/>
              <a:gd name="connsiteX198" fmla="*/ 1504230 w 2610377"/>
              <a:gd name="connsiteY198" fmla="*/ 567466 h 717496"/>
              <a:gd name="connsiteX199" fmla="*/ 1530987 w 2610377"/>
              <a:gd name="connsiteY199" fmla="*/ 567466 h 717496"/>
              <a:gd name="connsiteX200" fmla="*/ 1613214 w 2610377"/>
              <a:gd name="connsiteY200" fmla="*/ 669219 h 717496"/>
              <a:gd name="connsiteX201" fmla="*/ 1613214 w 2610377"/>
              <a:gd name="connsiteY201" fmla="*/ 567466 h 717496"/>
              <a:gd name="connsiteX202" fmla="*/ 1642580 w 2610377"/>
              <a:gd name="connsiteY202" fmla="*/ 567466 h 717496"/>
              <a:gd name="connsiteX203" fmla="*/ 1642580 w 2610377"/>
              <a:gd name="connsiteY203" fmla="*/ 715530 h 717496"/>
              <a:gd name="connsiteX204" fmla="*/ 1615171 w 2610377"/>
              <a:gd name="connsiteY204" fmla="*/ 715530 h 717496"/>
              <a:gd name="connsiteX205" fmla="*/ 1533597 w 2610377"/>
              <a:gd name="connsiteY205" fmla="*/ 615081 h 717496"/>
              <a:gd name="connsiteX206" fmla="*/ 1533597 w 2610377"/>
              <a:gd name="connsiteY206" fmla="*/ 715530 h 717496"/>
              <a:gd name="connsiteX207" fmla="*/ 1504230 w 2610377"/>
              <a:gd name="connsiteY207" fmla="*/ 715530 h 717496"/>
              <a:gd name="connsiteX208" fmla="*/ 1682388 w 2610377"/>
              <a:gd name="connsiteY208" fmla="*/ 641824 h 717496"/>
              <a:gd name="connsiteX209" fmla="*/ 1760047 w 2610377"/>
              <a:gd name="connsiteY209" fmla="*/ 565510 h 717496"/>
              <a:gd name="connsiteX210" fmla="*/ 1837706 w 2610377"/>
              <a:gd name="connsiteY210" fmla="*/ 641824 h 717496"/>
              <a:gd name="connsiteX211" fmla="*/ 1760047 w 2610377"/>
              <a:gd name="connsiteY211" fmla="*/ 717486 h 717496"/>
              <a:gd name="connsiteX212" fmla="*/ 1682388 w 2610377"/>
              <a:gd name="connsiteY212" fmla="*/ 641824 h 717496"/>
              <a:gd name="connsiteX213" fmla="*/ 1760047 w 2610377"/>
              <a:gd name="connsiteY213" fmla="*/ 690744 h 717496"/>
              <a:gd name="connsiteX214" fmla="*/ 1807687 w 2610377"/>
              <a:gd name="connsiteY214" fmla="*/ 641824 h 717496"/>
              <a:gd name="connsiteX215" fmla="*/ 1760047 w 2610377"/>
              <a:gd name="connsiteY215" fmla="*/ 592905 h 717496"/>
              <a:gd name="connsiteX216" fmla="*/ 1712408 w 2610377"/>
              <a:gd name="connsiteY216" fmla="*/ 641824 h 717496"/>
              <a:gd name="connsiteX217" fmla="*/ 1760047 w 2610377"/>
              <a:gd name="connsiteY217" fmla="*/ 690744 h 717496"/>
              <a:gd name="connsiteX218" fmla="*/ 1954520 w 2610377"/>
              <a:gd name="connsiteY218" fmla="*/ 567466 h 717496"/>
              <a:gd name="connsiteX219" fmla="*/ 1985845 w 2610377"/>
              <a:gd name="connsiteY219" fmla="*/ 567466 h 717496"/>
              <a:gd name="connsiteX220" fmla="*/ 2033485 w 2610377"/>
              <a:gd name="connsiteY220" fmla="*/ 665958 h 717496"/>
              <a:gd name="connsiteX221" fmla="*/ 2081124 w 2610377"/>
              <a:gd name="connsiteY221" fmla="*/ 567466 h 717496"/>
              <a:gd name="connsiteX222" fmla="*/ 2112448 w 2610377"/>
              <a:gd name="connsiteY222" fmla="*/ 567466 h 717496"/>
              <a:gd name="connsiteX223" fmla="*/ 2112448 w 2610377"/>
              <a:gd name="connsiteY223" fmla="*/ 715530 h 717496"/>
              <a:gd name="connsiteX224" fmla="*/ 2083082 w 2610377"/>
              <a:gd name="connsiteY224" fmla="*/ 715530 h 717496"/>
              <a:gd name="connsiteX225" fmla="*/ 2083082 w 2610377"/>
              <a:gd name="connsiteY225" fmla="*/ 624865 h 717496"/>
              <a:gd name="connsiteX226" fmla="*/ 2043274 w 2610377"/>
              <a:gd name="connsiteY226" fmla="*/ 705746 h 717496"/>
              <a:gd name="connsiteX227" fmla="*/ 2024348 w 2610377"/>
              <a:gd name="connsiteY227" fmla="*/ 705746 h 717496"/>
              <a:gd name="connsiteX228" fmla="*/ 1984540 w 2610377"/>
              <a:gd name="connsiteY228" fmla="*/ 624865 h 717496"/>
              <a:gd name="connsiteX229" fmla="*/ 1984540 w 2610377"/>
              <a:gd name="connsiteY229" fmla="*/ 715530 h 717496"/>
              <a:gd name="connsiteX230" fmla="*/ 1955173 w 2610377"/>
              <a:gd name="connsiteY230" fmla="*/ 715530 h 717496"/>
              <a:gd name="connsiteX231" fmla="*/ 1955173 w 2610377"/>
              <a:gd name="connsiteY231" fmla="*/ 567466 h 717496"/>
              <a:gd name="connsiteX232" fmla="*/ 2152257 w 2610377"/>
              <a:gd name="connsiteY232" fmla="*/ 641824 h 717496"/>
              <a:gd name="connsiteX233" fmla="*/ 2229915 w 2610377"/>
              <a:gd name="connsiteY233" fmla="*/ 565510 h 717496"/>
              <a:gd name="connsiteX234" fmla="*/ 2307574 w 2610377"/>
              <a:gd name="connsiteY234" fmla="*/ 641824 h 717496"/>
              <a:gd name="connsiteX235" fmla="*/ 2229915 w 2610377"/>
              <a:gd name="connsiteY235" fmla="*/ 717486 h 717496"/>
              <a:gd name="connsiteX236" fmla="*/ 2152257 w 2610377"/>
              <a:gd name="connsiteY236" fmla="*/ 641824 h 717496"/>
              <a:gd name="connsiteX237" fmla="*/ 2229915 w 2610377"/>
              <a:gd name="connsiteY237" fmla="*/ 690744 h 717496"/>
              <a:gd name="connsiteX238" fmla="*/ 2277555 w 2610377"/>
              <a:gd name="connsiteY238" fmla="*/ 641824 h 717496"/>
              <a:gd name="connsiteX239" fmla="*/ 2229915 w 2610377"/>
              <a:gd name="connsiteY239" fmla="*/ 592905 h 717496"/>
              <a:gd name="connsiteX240" fmla="*/ 2182276 w 2610377"/>
              <a:gd name="connsiteY240" fmla="*/ 641824 h 717496"/>
              <a:gd name="connsiteX241" fmla="*/ 2229915 w 2610377"/>
              <a:gd name="connsiteY241" fmla="*/ 690744 h 717496"/>
              <a:gd name="connsiteX242" fmla="*/ 2342814 w 2610377"/>
              <a:gd name="connsiteY242" fmla="*/ 715530 h 717496"/>
              <a:gd name="connsiteX243" fmla="*/ 2342814 w 2610377"/>
              <a:gd name="connsiteY243" fmla="*/ 567466 h 717496"/>
              <a:gd name="connsiteX244" fmla="*/ 2408074 w 2610377"/>
              <a:gd name="connsiteY244" fmla="*/ 567466 h 717496"/>
              <a:gd name="connsiteX245" fmla="*/ 2460934 w 2610377"/>
              <a:gd name="connsiteY245" fmla="*/ 615081 h 717496"/>
              <a:gd name="connsiteX246" fmla="*/ 2433525 w 2610377"/>
              <a:gd name="connsiteY246" fmla="*/ 656826 h 717496"/>
              <a:gd name="connsiteX247" fmla="*/ 2466807 w 2610377"/>
              <a:gd name="connsiteY247" fmla="*/ 715530 h 717496"/>
              <a:gd name="connsiteX248" fmla="*/ 2434177 w 2610377"/>
              <a:gd name="connsiteY248" fmla="*/ 715530 h 717496"/>
              <a:gd name="connsiteX249" fmla="*/ 2404158 w 2610377"/>
              <a:gd name="connsiteY249" fmla="*/ 661392 h 717496"/>
              <a:gd name="connsiteX250" fmla="*/ 2372181 w 2610377"/>
              <a:gd name="connsiteY250" fmla="*/ 661392 h 717496"/>
              <a:gd name="connsiteX251" fmla="*/ 2372181 w 2610377"/>
              <a:gd name="connsiteY251" fmla="*/ 714877 h 717496"/>
              <a:gd name="connsiteX252" fmla="*/ 2342814 w 2610377"/>
              <a:gd name="connsiteY252" fmla="*/ 714877 h 717496"/>
              <a:gd name="connsiteX253" fmla="*/ 2372181 w 2610377"/>
              <a:gd name="connsiteY253" fmla="*/ 635954 h 717496"/>
              <a:gd name="connsiteX254" fmla="*/ 2406116 w 2610377"/>
              <a:gd name="connsiteY254" fmla="*/ 635954 h 717496"/>
              <a:gd name="connsiteX255" fmla="*/ 2430914 w 2610377"/>
              <a:gd name="connsiteY255" fmla="*/ 615081 h 717496"/>
              <a:gd name="connsiteX256" fmla="*/ 2406116 w 2610377"/>
              <a:gd name="connsiteY256" fmla="*/ 592905 h 717496"/>
              <a:gd name="connsiteX257" fmla="*/ 2372181 w 2610377"/>
              <a:gd name="connsiteY257" fmla="*/ 592905 h 717496"/>
              <a:gd name="connsiteX258" fmla="*/ 2372181 w 2610377"/>
              <a:gd name="connsiteY258" fmla="*/ 635954 h 717496"/>
              <a:gd name="connsiteX259" fmla="*/ 2503353 w 2610377"/>
              <a:gd name="connsiteY259" fmla="*/ 567466 h 717496"/>
              <a:gd name="connsiteX260" fmla="*/ 2609073 w 2610377"/>
              <a:gd name="connsiteY260" fmla="*/ 567466 h 717496"/>
              <a:gd name="connsiteX261" fmla="*/ 2609073 w 2610377"/>
              <a:gd name="connsiteY261" fmla="*/ 592905 h 717496"/>
              <a:gd name="connsiteX262" fmla="*/ 2533372 w 2610377"/>
              <a:gd name="connsiteY262" fmla="*/ 592905 h 717496"/>
              <a:gd name="connsiteX263" fmla="*/ 2533372 w 2610377"/>
              <a:gd name="connsiteY263" fmla="*/ 626822 h 717496"/>
              <a:gd name="connsiteX264" fmla="*/ 2598631 w 2610377"/>
              <a:gd name="connsiteY264" fmla="*/ 626822 h 717496"/>
              <a:gd name="connsiteX265" fmla="*/ 2598631 w 2610377"/>
              <a:gd name="connsiteY265" fmla="*/ 652260 h 717496"/>
              <a:gd name="connsiteX266" fmla="*/ 2532719 w 2610377"/>
              <a:gd name="connsiteY266" fmla="*/ 652260 h 717496"/>
              <a:gd name="connsiteX267" fmla="*/ 2532719 w 2610377"/>
              <a:gd name="connsiteY267" fmla="*/ 690091 h 717496"/>
              <a:gd name="connsiteX268" fmla="*/ 2610378 w 2610377"/>
              <a:gd name="connsiteY268" fmla="*/ 690091 h 717496"/>
              <a:gd name="connsiteX269" fmla="*/ 2610378 w 2610377"/>
              <a:gd name="connsiteY269" fmla="*/ 715530 h 717496"/>
              <a:gd name="connsiteX270" fmla="*/ 2503353 w 2610377"/>
              <a:gd name="connsiteY270" fmla="*/ 715530 h 717496"/>
              <a:gd name="connsiteX271" fmla="*/ 2503353 w 2610377"/>
              <a:gd name="connsiteY271" fmla="*/ 567466 h 71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610377" h="717496">
                <a:moveTo>
                  <a:pt x="219924" y="234161"/>
                </a:moveTo>
                <a:cubicBezTo>
                  <a:pt x="274742" y="219812"/>
                  <a:pt x="308677" y="178067"/>
                  <a:pt x="308677" y="120016"/>
                </a:cubicBezTo>
                <a:cubicBezTo>
                  <a:pt x="308677" y="46311"/>
                  <a:pt x="255164" y="0"/>
                  <a:pt x="173590" y="0"/>
                </a:cubicBezTo>
                <a:lnTo>
                  <a:pt x="653" y="0"/>
                </a:lnTo>
                <a:lnTo>
                  <a:pt x="653" y="404401"/>
                </a:lnTo>
                <a:lnTo>
                  <a:pt x="49597" y="404401"/>
                </a:lnTo>
                <a:lnTo>
                  <a:pt x="49597" y="240032"/>
                </a:lnTo>
                <a:lnTo>
                  <a:pt x="167064" y="240032"/>
                </a:lnTo>
                <a:lnTo>
                  <a:pt x="262343" y="404401"/>
                </a:lnTo>
                <a:lnTo>
                  <a:pt x="320424" y="404401"/>
                </a:lnTo>
                <a:lnTo>
                  <a:pt x="219924" y="234161"/>
                </a:lnTo>
                <a:close/>
                <a:moveTo>
                  <a:pt x="49597" y="196330"/>
                </a:moveTo>
                <a:lnTo>
                  <a:pt x="49597" y="45006"/>
                </a:lnTo>
                <a:lnTo>
                  <a:pt x="170980" y="45006"/>
                </a:lnTo>
                <a:cubicBezTo>
                  <a:pt x="227756" y="45006"/>
                  <a:pt x="256470" y="73705"/>
                  <a:pt x="256470" y="120668"/>
                </a:cubicBezTo>
                <a:cubicBezTo>
                  <a:pt x="256470" y="166326"/>
                  <a:pt x="227103" y="196983"/>
                  <a:pt x="170980" y="196983"/>
                </a:cubicBezTo>
                <a:lnTo>
                  <a:pt x="49597" y="196983"/>
                </a:lnTo>
                <a:close/>
                <a:moveTo>
                  <a:pt x="1414825" y="652"/>
                </a:moveTo>
                <a:lnTo>
                  <a:pt x="1465075" y="652"/>
                </a:lnTo>
                <a:lnTo>
                  <a:pt x="1344997" y="405054"/>
                </a:lnTo>
                <a:lnTo>
                  <a:pt x="1273212" y="405054"/>
                </a:lnTo>
                <a:lnTo>
                  <a:pt x="1172712" y="75662"/>
                </a:lnTo>
                <a:lnTo>
                  <a:pt x="1072213" y="405054"/>
                </a:lnTo>
                <a:lnTo>
                  <a:pt x="1000427" y="405054"/>
                </a:lnTo>
                <a:lnTo>
                  <a:pt x="880350" y="652"/>
                </a:lnTo>
                <a:lnTo>
                  <a:pt x="930600" y="652"/>
                </a:lnTo>
                <a:lnTo>
                  <a:pt x="1036973" y="354830"/>
                </a:lnTo>
                <a:lnTo>
                  <a:pt x="1146609" y="3914"/>
                </a:lnTo>
                <a:lnTo>
                  <a:pt x="1198816" y="3914"/>
                </a:lnTo>
                <a:lnTo>
                  <a:pt x="1308452" y="354830"/>
                </a:lnTo>
                <a:lnTo>
                  <a:pt x="1414825" y="652"/>
                </a:lnTo>
                <a:close/>
                <a:moveTo>
                  <a:pt x="1621697" y="652"/>
                </a:moveTo>
                <a:lnTo>
                  <a:pt x="1670642" y="652"/>
                </a:lnTo>
                <a:lnTo>
                  <a:pt x="1670642" y="405054"/>
                </a:lnTo>
                <a:lnTo>
                  <a:pt x="1621697" y="405054"/>
                </a:lnTo>
                <a:lnTo>
                  <a:pt x="1621697" y="652"/>
                </a:lnTo>
                <a:close/>
                <a:moveTo>
                  <a:pt x="752442" y="405054"/>
                </a:moveTo>
                <a:lnTo>
                  <a:pt x="467910" y="405054"/>
                </a:lnTo>
                <a:lnTo>
                  <a:pt x="467910" y="652"/>
                </a:lnTo>
                <a:lnTo>
                  <a:pt x="745916" y="652"/>
                </a:lnTo>
                <a:lnTo>
                  <a:pt x="745916" y="45006"/>
                </a:lnTo>
                <a:lnTo>
                  <a:pt x="516855" y="45006"/>
                </a:lnTo>
                <a:lnTo>
                  <a:pt x="516855" y="174806"/>
                </a:lnTo>
                <a:lnTo>
                  <a:pt x="714591" y="174806"/>
                </a:lnTo>
                <a:lnTo>
                  <a:pt x="714591" y="219159"/>
                </a:lnTo>
                <a:lnTo>
                  <a:pt x="516855" y="219159"/>
                </a:lnTo>
                <a:lnTo>
                  <a:pt x="516855" y="360048"/>
                </a:lnTo>
                <a:lnTo>
                  <a:pt x="752442" y="360048"/>
                </a:lnTo>
                <a:lnTo>
                  <a:pt x="752442" y="405054"/>
                </a:lnTo>
                <a:close/>
                <a:moveTo>
                  <a:pt x="2077861" y="234161"/>
                </a:moveTo>
                <a:cubicBezTo>
                  <a:pt x="2132679" y="219812"/>
                  <a:pt x="2166614" y="178067"/>
                  <a:pt x="2166614" y="120016"/>
                </a:cubicBezTo>
                <a:cubicBezTo>
                  <a:pt x="2166614" y="46311"/>
                  <a:pt x="2113101" y="0"/>
                  <a:pt x="2031527" y="0"/>
                </a:cubicBezTo>
                <a:lnTo>
                  <a:pt x="1858589" y="0"/>
                </a:lnTo>
                <a:lnTo>
                  <a:pt x="1858589" y="404401"/>
                </a:lnTo>
                <a:lnTo>
                  <a:pt x="1907534" y="404401"/>
                </a:lnTo>
                <a:lnTo>
                  <a:pt x="1907534" y="240032"/>
                </a:lnTo>
                <a:lnTo>
                  <a:pt x="2025001" y="240032"/>
                </a:lnTo>
                <a:lnTo>
                  <a:pt x="2120280" y="404401"/>
                </a:lnTo>
                <a:lnTo>
                  <a:pt x="2178360" y="404401"/>
                </a:lnTo>
                <a:lnTo>
                  <a:pt x="2077861" y="234161"/>
                </a:lnTo>
                <a:close/>
                <a:moveTo>
                  <a:pt x="1907534" y="196330"/>
                </a:moveTo>
                <a:lnTo>
                  <a:pt x="1907534" y="45006"/>
                </a:lnTo>
                <a:lnTo>
                  <a:pt x="2029569" y="45006"/>
                </a:lnTo>
                <a:cubicBezTo>
                  <a:pt x="2086345" y="45006"/>
                  <a:pt x="2115059" y="73705"/>
                  <a:pt x="2115059" y="120668"/>
                </a:cubicBezTo>
                <a:cubicBezTo>
                  <a:pt x="2115059" y="166326"/>
                  <a:pt x="2085692" y="196983"/>
                  <a:pt x="2029569" y="196983"/>
                </a:cubicBezTo>
                <a:lnTo>
                  <a:pt x="1907534" y="196983"/>
                </a:lnTo>
                <a:close/>
                <a:moveTo>
                  <a:pt x="2610378" y="652"/>
                </a:moveTo>
                <a:lnTo>
                  <a:pt x="2610378" y="405054"/>
                </a:lnTo>
                <a:lnTo>
                  <a:pt x="2325847" y="405054"/>
                </a:lnTo>
                <a:lnTo>
                  <a:pt x="2325847" y="360700"/>
                </a:lnTo>
                <a:lnTo>
                  <a:pt x="2561433" y="360700"/>
                </a:lnTo>
                <a:lnTo>
                  <a:pt x="2561433" y="219812"/>
                </a:lnTo>
                <a:lnTo>
                  <a:pt x="2363697" y="219812"/>
                </a:lnTo>
                <a:lnTo>
                  <a:pt x="2363697" y="175458"/>
                </a:lnTo>
                <a:lnTo>
                  <a:pt x="2561433" y="175458"/>
                </a:lnTo>
                <a:lnTo>
                  <a:pt x="2561433" y="45658"/>
                </a:lnTo>
                <a:lnTo>
                  <a:pt x="2332373" y="45658"/>
                </a:lnTo>
                <a:lnTo>
                  <a:pt x="2332373" y="1305"/>
                </a:lnTo>
                <a:lnTo>
                  <a:pt x="2610378" y="1305"/>
                </a:lnTo>
                <a:close/>
                <a:moveTo>
                  <a:pt x="29367" y="715530"/>
                </a:moveTo>
                <a:lnTo>
                  <a:pt x="0" y="715530"/>
                </a:lnTo>
                <a:lnTo>
                  <a:pt x="0" y="567466"/>
                </a:lnTo>
                <a:lnTo>
                  <a:pt x="29367" y="567466"/>
                </a:lnTo>
                <a:lnTo>
                  <a:pt x="29367" y="715530"/>
                </a:lnTo>
                <a:close/>
                <a:moveTo>
                  <a:pt x="78964" y="567466"/>
                </a:moveTo>
                <a:lnTo>
                  <a:pt x="110289" y="567466"/>
                </a:lnTo>
                <a:lnTo>
                  <a:pt x="157928" y="665958"/>
                </a:lnTo>
                <a:lnTo>
                  <a:pt x="205567" y="567466"/>
                </a:lnTo>
                <a:lnTo>
                  <a:pt x="236892" y="567466"/>
                </a:lnTo>
                <a:lnTo>
                  <a:pt x="236892" y="715530"/>
                </a:lnTo>
                <a:lnTo>
                  <a:pt x="207525" y="715530"/>
                </a:lnTo>
                <a:lnTo>
                  <a:pt x="207525" y="624865"/>
                </a:lnTo>
                <a:lnTo>
                  <a:pt x="167717" y="705746"/>
                </a:lnTo>
                <a:lnTo>
                  <a:pt x="148792" y="705746"/>
                </a:lnTo>
                <a:lnTo>
                  <a:pt x="108983" y="624865"/>
                </a:lnTo>
                <a:lnTo>
                  <a:pt x="108983" y="715530"/>
                </a:lnTo>
                <a:lnTo>
                  <a:pt x="79617" y="715530"/>
                </a:lnTo>
                <a:lnTo>
                  <a:pt x="79617" y="567466"/>
                </a:lnTo>
                <a:close/>
                <a:moveTo>
                  <a:pt x="281921" y="715530"/>
                </a:moveTo>
                <a:lnTo>
                  <a:pt x="281921" y="567466"/>
                </a:lnTo>
                <a:lnTo>
                  <a:pt x="346528" y="567466"/>
                </a:lnTo>
                <a:cubicBezTo>
                  <a:pt x="378505" y="567466"/>
                  <a:pt x="399388" y="587034"/>
                  <a:pt x="399388" y="616386"/>
                </a:cubicBezTo>
                <a:cubicBezTo>
                  <a:pt x="399388" y="644433"/>
                  <a:pt x="378505" y="664653"/>
                  <a:pt x="346528" y="664653"/>
                </a:cubicBezTo>
                <a:lnTo>
                  <a:pt x="311288" y="664653"/>
                </a:lnTo>
                <a:lnTo>
                  <a:pt x="311288" y="715530"/>
                </a:lnTo>
                <a:lnTo>
                  <a:pt x="281921" y="715530"/>
                </a:lnTo>
                <a:close/>
                <a:moveTo>
                  <a:pt x="311288" y="639215"/>
                </a:moveTo>
                <a:lnTo>
                  <a:pt x="344570" y="639215"/>
                </a:lnTo>
                <a:cubicBezTo>
                  <a:pt x="360885" y="639215"/>
                  <a:pt x="369369" y="628779"/>
                  <a:pt x="369369" y="616386"/>
                </a:cubicBezTo>
                <a:cubicBezTo>
                  <a:pt x="369369" y="602688"/>
                  <a:pt x="360885" y="592905"/>
                  <a:pt x="344570" y="592905"/>
                </a:cubicBezTo>
                <a:lnTo>
                  <a:pt x="311288" y="592905"/>
                </a:lnTo>
                <a:lnTo>
                  <a:pt x="311288" y="639215"/>
                </a:lnTo>
                <a:close/>
                <a:moveTo>
                  <a:pt x="426144" y="641824"/>
                </a:moveTo>
                <a:cubicBezTo>
                  <a:pt x="426144" y="596818"/>
                  <a:pt x="458774" y="565510"/>
                  <a:pt x="503803" y="565510"/>
                </a:cubicBezTo>
                <a:cubicBezTo>
                  <a:pt x="548832" y="565510"/>
                  <a:pt x="581462" y="597470"/>
                  <a:pt x="581462" y="641824"/>
                </a:cubicBezTo>
                <a:cubicBezTo>
                  <a:pt x="581462" y="686830"/>
                  <a:pt x="548832" y="717486"/>
                  <a:pt x="503803" y="717486"/>
                </a:cubicBezTo>
                <a:cubicBezTo>
                  <a:pt x="458774" y="718139"/>
                  <a:pt x="426144" y="686830"/>
                  <a:pt x="426144" y="641824"/>
                </a:cubicBezTo>
                <a:close/>
                <a:moveTo>
                  <a:pt x="503803" y="690744"/>
                </a:moveTo>
                <a:cubicBezTo>
                  <a:pt x="531865" y="690744"/>
                  <a:pt x="551442" y="671176"/>
                  <a:pt x="551442" y="641824"/>
                </a:cubicBezTo>
                <a:cubicBezTo>
                  <a:pt x="551442" y="613125"/>
                  <a:pt x="531865" y="592905"/>
                  <a:pt x="503803" y="592905"/>
                </a:cubicBezTo>
                <a:cubicBezTo>
                  <a:pt x="476394" y="592905"/>
                  <a:pt x="456164" y="613125"/>
                  <a:pt x="456164" y="641824"/>
                </a:cubicBezTo>
                <a:cubicBezTo>
                  <a:pt x="456816" y="670523"/>
                  <a:pt x="476394" y="690744"/>
                  <a:pt x="503803" y="690744"/>
                </a:cubicBezTo>
                <a:close/>
                <a:moveTo>
                  <a:pt x="629754" y="667262"/>
                </a:moveTo>
                <a:cubicBezTo>
                  <a:pt x="636932" y="681612"/>
                  <a:pt x="649984" y="691396"/>
                  <a:pt x="667604" y="691396"/>
                </a:cubicBezTo>
                <a:cubicBezTo>
                  <a:pt x="681961" y="691396"/>
                  <a:pt x="693055" y="684221"/>
                  <a:pt x="693055" y="675089"/>
                </a:cubicBezTo>
                <a:cubicBezTo>
                  <a:pt x="693055" y="665305"/>
                  <a:pt x="681961" y="660087"/>
                  <a:pt x="664341" y="654217"/>
                </a:cubicBezTo>
                <a:cubicBezTo>
                  <a:pt x="635627" y="645085"/>
                  <a:pt x="612786" y="636606"/>
                  <a:pt x="612786" y="607907"/>
                </a:cubicBezTo>
                <a:cubicBezTo>
                  <a:pt x="612786" y="579859"/>
                  <a:pt x="640195" y="565510"/>
                  <a:pt x="664994" y="565510"/>
                </a:cubicBezTo>
                <a:cubicBezTo>
                  <a:pt x="691750" y="565510"/>
                  <a:pt x="710676" y="581164"/>
                  <a:pt x="719812" y="597470"/>
                </a:cubicBezTo>
                <a:lnTo>
                  <a:pt x="696971" y="613777"/>
                </a:lnTo>
                <a:cubicBezTo>
                  <a:pt x="690445" y="602688"/>
                  <a:pt x="680004" y="592252"/>
                  <a:pt x="664341" y="592252"/>
                </a:cubicBezTo>
                <a:cubicBezTo>
                  <a:pt x="652594" y="592252"/>
                  <a:pt x="642806" y="598123"/>
                  <a:pt x="642806" y="607907"/>
                </a:cubicBezTo>
                <a:cubicBezTo>
                  <a:pt x="642806" y="619647"/>
                  <a:pt x="653900" y="621604"/>
                  <a:pt x="672172" y="628127"/>
                </a:cubicBezTo>
                <a:cubicBezTo>
                  <a:pt x="700234" y="637910"/>
                  <a:pt x="723075" y="645738"/>
                  <a:pt x="723075" y="674437"/>
                </a:cubicBezTo>
                <a:cubicBezTo>
                  <a:pt x="723075" y="703789"/>
                  <a:pt x="693708" y="717486"/>
                  <a:pt x="666952" y="717486"/>
                </a:cubicBezTo>
                <a:cubicBezTo>
                  <a:pt x="638238" y="717486"/>
                  <a:pt x="616049" y="702484"/>
                  <a:pt x="607566" y="682264"/>
                </a:cubicBezTo>
                <a:lnTo>
                  <a:pt x="629754" y="667262"/>
                </a:lnTo>
                <a:close/>
                <a:moveTo>
                  <a:pt x="770714" y="667262"/>
                </a:moveTo>
                <a:cubicBezTo>
                  <a:pt x="777893" y="681612"/>
                  <a:pt x="790945" y="691396"/>
                  <a:pt x="808565" y="691396"/>
                </a:cubicBezTo>
                <a:cubicBezTo>
                  <a:pt x="822922" y="691396"/>
                  <a:pt x="834016" y="684221"/>
                  <a:pt x="834016" y="675089"/>
                </a:cubicBezTo>
                <a:cubicBezTo>
                  <a:pt x="834016" y="665305"/>
                  <a:pt x="822922" y="660087"/>
                  <a:pt x="805302" y="654217"/>
                </a:cubicBezTo>
                <a:cubicBezTo>
                  <a:pt x="776587" y="645085"/>
                  <a:pt x="753747" y="636606"/>
                  <a:pt x="753747" y="607907"/>
                </a:cubicBezTo>
                <a:cubicBezTo>
                  <a:pt x="753747" y="579859"/>
                  <a:pt x="781156" y="565510"/>
                  <a:pt x="805954" y="565510"/>
                </a:cubicBezTo>
                <a:cubicBezTo>
                  <a:pt x="832711" y="565510"/>
                  <a:pt x="851636" y="581164"/>
                  <a:pt x="860772" y="597470"/>
                </a:cubicBezTo>
                <a:lnTo>
                  <a:pt x="837931" y="613777"/>
                </a:lnTo>
                <a:cubicBezTo>
                  <a:pt x="831406" y="602688"/>
                  <a:pt x="820964" y="592252"/>
                  <a:pt x="805302" y="592252"/>
                </a:cubicBezTo>
                <a:cubicBezTo>
                  <a:pt x="793555" y="592252"/>
                  <a:pt x="783766" y="598123"/>
                  <a:pt x="783766" y="607907"/>
                </a:cubicBezTo>
                <a:cubicBezTo>
                  <a:pt x="783766" y="619647"/>
                  <a:pt x="794860" y="621604"/>
                  <a:pt x="813133" y="628127"/>
                </a:cubicBezTo>
                <a:cubicBezTo>
                  <a:pt x="841194" y="637910"/>
                  <a:pt x="864035" y="645738"/>
                  <a:pt x="864035" y="674437"/>
                </a:cubicBezTo>
                <a:cubicBezTo>
                  <a:pt x="864035" y="703789"/>
                  <a:pt x="834669" y="717486"/>
                  <a:pt x="807912" y="717486"/>
                </a:cubicBezTo>
                <a:cubicBezTo>
                  <a:pt x="779198" y="717486"/>
                  <a:pt x="757010" y="702484"/>
                  <a:pt x="748526" y="682264"/>
                </a:cubicBezTo>
                <a:lnTo>
                  <a:pt x="770714" y="667262"/>
                </a:lnTo>
                <a:close/>
                <a:moveTo>
                  <a:pt x="933863" y="715530"/>
                </a:moveTo>
                <a:lnTo>
                  <a:pt x="904496" y="715530"/>
                </a:lnTo>
                <a:lnTo>
                  <a:pt x="904496" y="567466"/>
                </a:lnTo>
                <a:lnTo>
                  <a:pt x="933863" y="567466"/>
                </a:lnTo>
                <a:lnTo>
                  <a:pt x="933863" y="715530"/>
                </a:lnTo>
                <a:close/>
                <a:moveTo>
                  <a:pt x="978892" y="567466"/>
                </a:moveTo>
                <a:lnTo>
                  <a:pt x="1047414" y="567466"/>
                </a:lnTo>
                <a:cubicBezTo>
                  <a:pt x="1074171" y="567466"/>
                  <a:pt x="1093096" y="583773"/>
                  <a:pt x="1093096" y="607907"/>
                </a:cubicBezTo>
                <a:cubicBezTo>
                  <a:pt x="1093096" y="617691"/>
                  <a:pt x="1087875" y="633345"/>
                  <a:pt x="1073518" y="638563"/>
                </a:cubicBezTo>
                <a:cubicBezTo>
                  <a:pt x="1089833" y="645085"/>
                  <a:pt x="1098316" y="658783"/>
                  <a:pt x="1098316" y="674437"/>
                </a:cubicBezTo>
                <a:cubicBezTo>
                  <a:pt x="1098316" y="698571"/>
                  <a:pt x="1079391" y="715530"/>
                  <a:pt x="1051982" y="715530"/>
                </a:cubicBezTo>
                <a:lnTo>
                  <a:pt x="978892" y="715530"/>
                </a:lnTo>
                <a:lnTo>
                  <a:pt x="978892" y="567466"/>
                </a:lnTo>
                <a:close/>
                <a:moveTo>
                  <a:pt x="1008258" y="592905"/>
                </a:moveTo>
                <a:lnTo>
                  <a:pt x="1008258" y="629431"/>
                </a:lnTo>
                <a:lnTo>
                  <a:pt x="1042846" y="629431"/>
                </a:lnTo>
                <a:cubicBezTo>
                  <a:pt x="1055245" y="629431"/>
                  <a:pt x="1062424" y="621604"/>
                  <a:pt x="1062424" y="611820"/>
                </a:cubicBezTo>
                <a:cubicBezTo>
                  <a:pt x="1062424" y="600079"/>
                  <a:pt x="1053940" y="593557"/>
                  <a:pt x="1042193" y="593557"/>
                </a:cubicBezTo>
                <a:lnTo>
                  <a:pt x="1008258" y="593557"/>
                </a:lnTo>
                <a:close/>
                <a:moveTo>
                  <a:pt x="1008258" y="652260"/>
                </a:moveTo>
                <a:lnTo>
                  <a:pt x="1008258" y="690744"/>
                </a:lnTo>
                <a:lnTo>
                  <a:pt x="1046762" y="690744"/>
                </a:lnTo>
                <a:cubicBezTo>
                  <a:pt x="1058508" y="690744"/>
                  <a:pt x="1066340" y="682917"/>
                  <a:pt x="1066340" y="672480"/>
                </a:cubicBezTo>
                <a:cubicBezTo>
                  <a:pt x="1066340" y="660087"/>
                  <a:pt x="1058508" y="652260"/>
                  <a:pt x="1046762" y="652260"/>
                </a:cubicBezTo>
                <a:lnTo>
                  <a:pt x="1008258" y="652260"/>
                </a:lnTo>
                <a:close/>
                <a:moveTo>
                  <a:pt x="1247108" y="715530"/>
                </a:moveTo>
                <a:lnTo>
                  <a:pt x="1137472" y="715530"/>
                </a:lnTo>
                <a:lnTo>
                  <a:pt x="1137472" y="567466"/>
                </a:lnTo>
                <a:lnTo>
                  <a:pt x="1166839" y="567466"/>
                </a:lnTo>
                <a:lnTo>
                  <a:pt x="1166839" y="690091"/>
                </a:lnTo>
                <a:lnTo>
                  <a:pt x="1246455" y="690091"/>
                </a:lnTo>
                <a:lnTo>
                  <a:pt x="1246455" y="715530"/>
                </a:lnTo>
                <a:close/>
                <a:moveTo>
                  <a:pt x="1281043" y="567466"/>
                </a:moveTo>
                <a:lnTo>
                  <a:pt x="1386763" y="567466"/>
                </a:lnTo>
                <a:lnTo>
                  <a:pt x="1386763" y="592905"/>
                </a:lnTo>
                <a:lnTo>
                  <a:pt x="1311062" y="592905"/>
                </a:lnTo>
                <a:lnTo>
                  <a:pt x="1311062" y="626822"/>
                </a:lnTo>
                <a:lnTo>
                  <a:pt x="1376974" y="626822"/>
                </a:lnTo>
                <a:lnTo>
                  <a:pt x="1376974" y="652260"/>
                </a:lnTo>
                <a:lnTo>
                  <a:pt x="1311062" y="652260"/>
                </a:lnTo>
                <a:lnTo>
                  <a:pt x="1311062" y="690091"/>
                </a:lnTo>
                <a:lnTo>
                  <a:pt x="1388721" y="690091"/>
                </a:lnTo>
                <a:lnTo>
                  <a:pt x="1388721" y="715530"/>
                </a:lnTo>
                <a:lnTo>
                  <a:pt x="1281696" y="715530"/>
                </a:lnTo>
                <a:lnTo>
                  <a:pt x="1281696" y="567466"/>
                </a:lnTo>
                <a:close/>
                <a:moveTo>
                  <a:pt x="1504230" y="715530"/>
                </a:moveTo>
                <a:lnTo>
                  <a:pt x="1504230" y="567466"/>
                </a:lnTo>
                <a:lnTo>
                  <a:pt x="1530987" y="567466"/>
                </a:lnTo>
                <a:lnTo>
                  <a:pt x="1613214" y="669219"/>
                </a:lnTo>
                <a:lnTo>
                  <a:pt x="1613214" y="567466"/>
                </a:lnTo>
                <a:lnTo>
                  <a:pt x="1642580" y="567466"/>
                </a:lnTo>
                <a:lnTo>
                  <a:pt x="1642580" y="715530"/>
                </a:lnTo>
                <a:lnTo>
                  <a:pt x="1615171" y="715530"/>
                </a:lnTo>
                <a:lnTo>
                  <a:pt x="1533597" y="615081"/>
                </a:lnTo>
                <a:lnTo>
                  <a:pt x="1533597" y="715530"/>
                </a:lnTo>
                <a:lnTo>
                  <a:pt x="1504230" y="715530"/>
                </a:lnTo>
                <a:close/>
                <a:moveTo>
                  <a:pt x="1682388" y="641824"/>
                </a:moveTo>
                <a:cubicBezTo>
                  <a:pt x="1682388" y="596818"/>
                  <a:pt x="1715018" y="565510"/>
                  <a:pt x="1760047" y="565510"/>
                </a:cubicBezTo>
                <a:cubicBezTo>
                  <a:pt x="1805077" y="565510"/>
                  <a:pt x="1837706" y="597470"/>
                  <a:pt x="1837706" y="641824"/>
                </a:cubicBezTo>
                <a:cubicBezTo>
                  <a:pt x="1837706" y="686830"/>
                  <a:pt x="1805077" y="717486"/>
                  <a:pt x="1760047" y="717486"/>
                </a:cubicBezTo>
                <a:cubicBezTo>
                  <a:pt x="1715018" y="718139"/>
                  <a:pt x="1682388" y="686830"/>
                  <a:pt x="1682388" y="641824"/>
                </a:cubicBezTo>
                <a:close/>
                <a:moveTo>
                  <a:pt x="1760047" y="690744"/>
                </a:moveTo>
                <a:cubicBezTo>
                  <a:pt x="1788109" y="690744"/>
                  <a:pt x="1807687" y="671176"/>
                  <a:pt x="1807687" y="641824"/>
                </a:cubicBezTo>
                <a:cubicBezTo>
                  <a:pt x="1807687" y="613125"/>
                  <a:pt x="1788109" y="592905"/>
                  <a:pt x="1760047" y="592905"/>
                </a:cubicBezTo>
                <a:cubicBezTo>
                  <a:pt x="1732638" y="592905"/>
                  <a:pt x="1712408" y="613125"/>
                  <a:pt x="1712408" y="641824"/>
                </a:cubicBezTo>
                <a:cubicBezTo>
                  <a:pt x="1712408" y="670523"/>
                  <a:pt x="1732638" y="690744"/>
                  <a:pt x="1760047" y="690744"/>
                </a:cubicBezTo>
                <a:close/>
                <a:moveTo>
                  <a:pt x="1954520" y="567466"/>
                </a:moveTo>
                <a:lnTo>
                  <a:pt x="1985845" y="567466"/>
                </a:lnTo>
                <a:lnTo>
                  <a:pt x="2033485" y="665958"/>
                </a:lnTo>
                <a:lnTo>
                  <a:pt x="2081124" y="567466"/>
                </a:lnTo>
                <a:lnTo>
                  <a:pt x="2112448" y="567466"/>
                </a:lnTo>
                <a:lnTo>
                  <a:pt x="2112448" y="715530"/>
                </a:lnTo>
                <a:lnTo>
                  <a:pt x="2083082" y="715530"/>
                </a:lnTo>
                <a:lnTo>
                  <a:pt x="2083082" y="624865"/>
                </a:lnTo>
                <a:lnTo>
                  <a:pt x="2043274" y="705746"/>
                </a:lnTo>
                <a:lnTo>
                  <a:pt x="2024348" y="705746"/>
                </a:lnTo>
                <a:lnTo>
                  <a:pt x="1984540" y="624865"/>
                </a:lnTo>
                <a:lnTo>
                  <a:pt x="1984540" y="715530"/>
                </a:lnTo>
                <a:lnTo>
                  <a:pt x="1955173" y="715530"/>
                </a:lnTo>
                <a:lnTo>
                  <a:pt x="1955173" y="567466"/>
                </a:lnTo>
                <a:close/>
                <a:moveTo>
                  <a:pt x="2152257" y="641824"/>
                </a:moveTo>
                <a:cubicBezTo>
                  <a:pt x="2152257" y="596818"/>
                  <a:pt x="2184886" y="565510"/>
                  <a:pt x="2229915" y="565510"/>
                </a:cubicBezTo>
                <a:cubicBezTo>
                  <a:pt x="2274945" y="565510"/>
                  <a:pt x="2307574" y="597470"/>
                  <a:pt x="2307574" y="641824"/>
                </a:cubicBezTo>
                <a:cubicBezTo>
                  <a:pt x="2307574" y="686830"/>
                  <a:pt x="2274945" y="717486"/>
                  <a:pt x="2229915" y="717486"/>
                </a:cubicBezTo>
                <a:cubicBezTo>
                  <a:pt x="2184886" y="718139"/>
                  <a:pt x="2152257" y="686830"/>
                  <a:pt x="2152257" y="641824"/>
                </a:cubicBezTo>
                <a:close/>
                <a:moveTo>
                  <a:pt x="2229915" y="690744"/>
                </a:moveTo>
                <a:cubicBezTo>
                  <a:pt x="2257977" y="690744"/>
                  <a:pt x="2277555" y="671176"/>
                  <a:pt x="2277555" y="641824"/>
                </a:cubicBezTo>
                <a:cubicBezTo>
                  <a:pt x="2277555" y="613125"/>
                  <a:pt x="2257977" y="592905"/>
                  <a:pt x="2229915" y="592905"/>
                </a:cubicBezTo>
                <a:cubicBezTo>
                  <a:pt x="2202506" y="592905"/>
                  <a:pt x="2182276" y="613125"/>
                  <a:pt x="2182276" y="641824"/>
                </a:cubicBezTo>
                <a:cubicBezTo>
                  <a:pt x="2182276" y="670523"/>
                  <a:pt x="2202506" y="690744"/>
                  <a:pt x="2229915" y="690744"/>
                </a:cubicBezTo>
                <a:close/>
                <a:moveTo>
                  <a:pt x="2342814" y="715530"/>
                </a:moveTo>
                <a:lnTo>
                  <a:pt x="2342814" y="567466"/>
                </a:lnTo>
                <a:lnTo>
                  <a:pt x="2408074" y="567466"/>
                </a:lnTo>
                <a:cubicBezTo>
                  <a:pt x="2440051" y="567466"/>
                  <a:pt x="2460934" y="586382"/>
                  <a:pt x="2460934" y="615081"/>
                </a:cubicBezTo>
                <a:cubicBezTo>
                  <a:pt x="2460934" y="633997"/>
                  <a:pt x="2450492" y="649651"/>
                  <a:pt x="2433525" y="656826"/>
                </a:cubicBezTo>
                <a:lnTo>
                  <a:pt x="2466807" y="715530"/>
                </a:lnTo>
                <a:lnTo>
                  <a:pt x="2434177" y="715530"/>
                </a:lnTo>
                <a:lnTo>
                  <a:pt x="2404158" y="661392"/>
                </a:lnTo>
                <a:lnTo>
                  <a:pt x="2372181" y="661392"/>
                </a:lnTo>
                <a:lnTo>
                  <a:pt x="2372181" y="714877"/>
                </a:lnTo>
                <a:lnTo>
                  <a:pt x="2342814" y="714877"/>
                </a:lnTo>
                <a:close/>
                <a:moveTo>
                  <a:pt x="2372181" y="635954"/>
                </a:moveTo>
                <a:lnTo>
                  <a:pt x="2406116" y="635954"/>
                </a:lnTo>
                <a:cubicBezTo>
                  <a:pt x="2422431" y="635954"/>
                  <a:pt x="2430914" y="626170"/>
                  <a:pt x="2430914" y="615081"/>
                </a:cubicBezTo>
                <a:cubicBezTo>
                  <a:pt x="2430914" y="602688"/>
                  <a:pt x="2422431" y="592905"/>
                  <a:pt x="2406116" y="592905"/>
                </a:cubicBezTo>
                <a:lnTo>
                  <a:pt x="2372181" y="592905"/>
                </a:lnTo>
                <a:lnTo>
                  <a:pt x="2372181" y="635954"/>
                </a:lnTo>
                <a:close/>
                <a:moveTo>
                  <a:pt x="2503353" y="567466"/>
                </a:moveTo>
                <a:lnTo>
                  <a:pt x="2609073" y="567466"/>
                </a:lnTo>
                <a:lnTo>
                  <a:pt x="2609073" y="592905"/>
                </a:lnTo>
                <a:lnTo>
                  <a:pt x="2533372" y="592905"/>
                </a:lnTo>
                <a:lnTo>
                  <a:pt x="2533372" y="626822"/>
                </a:lnTo>
                <a:lnTo>
                  <a:pt x="2598631" y="626822"/>
                </a:lnTo>
                <a:lnTo>
                  <a:pt x="2598631" y="652260"/>
                </a:lnTo>
                <a:lnTo>
                  <a:pt x="2532719" y="652260"/>
                </a:lnTo>
                <a:lnTo>
                  <a:pt x="2532719" y="690091"/>
                </a:lnTo>
                <a:lnTo>
                  <a:pt x="2610378" y="690091"/>
                </a:lnTo>
                <a:lnTo>
                  <a:pt x="2610378" y="715530"/>
                </a:lnTo>
                <a:lnTo>
                  <a:pt x="2503353" y="715530"/>
                </a:lnTo>
                <a:lnTo>
                  <a:pt x="2503353" y="567466"/>
                </a:lnTo>
                <a:close/>
              </a:path>
            </a:pathLst>
          </a:custGeom>
          <a:solidFill>
            <a:schemeClr val="tx1"/>
          </a:solidFill>
          <a:ln w="6526" cap="flat">
            <a:noFill/>
            <a:prstDash val="solid"/>
            <a:miter/>
          </a:ln>
        </p:spPr>
        <p:txBody>
          <a:bodyPr rtlCol="0" anchor="ctr"/>
          <a:lstStyle/>
          <a:p>
            <a:pPr marL="0" indent="0">
              <a:tabLst>
                <a:tab pos="755650" algn="l"/>
              </a:tabLst>
            </a:pPr>
            <a:endParaRPr lang="en-US" b="0" i="0">
              <a:latin typeface="Arial" panose="020B0604020202020204" pitchFamily="34" charset="0"/>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D244679D-DEC6-0DBD-6430-4B20084B780B}"/>
              </a:ext>
            </a:extLst>
          </p:cNvPr>
          <p:cNvSpPr/>
          <p:nvPr userDrawn="1"/>
        </p:nvSpPr>
        <p:spPr>
          <a:xfrm>
            <a:off x="336794" y="370317"/>
            <a:ext cx="8002276" cy="3461147"/>
          </a:xfrm>
          <a:prstGeom prst="rect">
            <a:avLst/>
          </a:prstGeom>
          <a:solidFill>
            <a:schemeClr val="tx1">
              <a:alpha val="402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100000"/>
              </a:lnSpc>
            </a:pPr>
            <a:endParaRPr lang="en-US">
              <a:latin typeface="Arial" panose="020B0604020202020204" pitchFamily="34" charset="0"/>
              <a:cs typeface="Arial" panose="020B0604020202020204" pitchFamily="34" charset="0"/>
              <a:sym typeface="Arial" panose="020B0604020202020204" pitchFamily="34" charset="0"/>
            </a:endParaRPr>
          </a:p>
        </p:txBody>
      </p:sp>
      <p:sp>
        <p:nvSpPr>
          <p:cNvPr id="3" name="Title 11">
            <a:extLst>
              <a:ext uri="{FF2B5EF4-FFF2-40B4-BE49-F238E27FC236}">
                <a16:creationId xmlns:a16="http://schemas.microsoft.com/office/drawing/2014/main" id="{6922242D-A4C0-F86F-586D-0ADACD9CD5FD}"/>
              </a:ext>
            </a:extLst>
          </p:cNvPr>
          <p:cNvSpPr>
            <a:spLocks noGrp="1"/>
          </p:cNvSpPr>
          <p:nvPr>
            <p:ph type="title" hasCustomPrompt="1"/>
          </p:nvPr>
        </p:nvSpPr>
        <p:spPr>
          <a:xfrm>
            <a:off x="690880" y="863246"/>
            <a:ext cx="7268264" cy="1396151"/>
          </a:xfrm>
        </p:spPr>
        <p:txBody>
          <a:bodyPr vert="horz" wrap="square" lIns="0" tIns="0" rIns="0" bIns="0" rtlCol="0" anchor="t" anchorCtr="0">
            <a:spAutoFit/>
          </a:bodyPr>
          <a:lstStyle>
            <a:lvl1pPr rtl="0">
              <a:lnSpc>
                <a:spcPct val="100000"/>
              </a:lnSpc>
              <a:defRPr lang="en-GB" sz="3600" dirty="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a:t>Title - &lt;please replace background with image from library&gt; </a:t>
            </a:r>
          </a:p>
        </p:txBody>
      </p:sp>
      <p:sp>
        <p:nvSpPr>
          <p:cNvPr id="8" name="Text Placeholder 16">
            <a:extLst>
              <a:ext uri="{FF2B5EF4-FFF2-40B4-BE49-F238E27FC236}">
                <a16:creationId xmlns:a16="http://schemas.microsoft.com/office/drawing/2014/main" id="{B17FA5BB-72A3-7913-67BD-60A88A813D24}"/>
              </a:ext>
            </a:extLst>
          </p:cNvPr>
          <p:cNvSpPr>
            <a:spLocks noGrp="1"/>
          </p:cNvSpPr>
          <p:nvPr>
            <p:ph type="body" sz="quarter" idx="13" hasCustomPrompt="1"/>
          </p:nvPr>
        </p:nvSpPr>
        <p:spPr>
          <a:xfrm>
            <a:off x="699554" y="2530267"/>
            <a:ext cx="7268264" cy="313932"/>
          </a:xfrm>
          <a:prstGeom prst="rect">
            <a:avLst/>
          </a:prstGeom>
        </p:spPr>
        <p:txBody>
          <a:bodyPr vert="horz" wrap="square" lIns="0" tIns="0" rIns="0" bIns="0" rtlCol="0" anchor="t" anchorCtr="0">
            <a:spAutoFit/>
          </a:bodyPr>
          <a:lstStyle>
            <a:lvl1pPr rtl="0">
              <a:lnSpc>
                <a:spcPct val="100000"/>
              </a:lnSpc>
              <a:defRPr lang="en-US" sz="2400" b="0"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a:t>Subtitle</a:t>
            </a:r>
          </a:p>
        </p:txBody>
      </p:sp>
      <p:sp>
        <p:nvSpPr>
          <p:cNvPr id="9" name="Text Placeholder 16">
            <a:extLst>
              <a:ext uri="{FF2B5EF4-FFF2-40B4-BE49-F238E27FC236}">
                <a16:creationId xmlns:a16="http://schemas.microsoft.com/office/drawing/2014/main" id="{7F261D25-2507-E7C0-B06D-96FE3BD4D7CE}"/>
              </a:ext>
            </a:extLst>
          </p:cNvPr>
          <p:cNvSpPr>
            <a:spLocks noGrp="1"/>
          </p:cNvSpPr>
          <p:nvPr>
            <p:ph type="body" sz="quarter" idx="14" hasCustomPrompt="1"/>
          </p:nvPr>
        </p:nvSpPr>
        <p:spPr>
          <a:xfrm>
            <a:off x="699554" y="3115068"/>
            <a:ext cx="7268264" cy="313932"/>
          </a:xfrm>
          <a:prstGeom prst="rect">
            <a:avLst/>
          </a:prstGeom>
        </p:spPr>
        <p:txBody>
          <a:bodyPr vert="horz" wrap="square" lIns="0" tIns="0" rIns="0" bIns="0" rtlCol="0" anchor="t" anchorCtr="0">
            <a:spAutoFit/>
          </a:bodyPr>
          <a:lstStyle>
            <a:lvl1pPr rtl="0">
              <a:lnSpc>
                <a:spcPct val="100000"/>
              </a:lnSpc>
              <a:defRPr lang="en-US" sz="2400" b="0"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a:t>Date</a:t>
            </a:r>
          </a:p>
        </p:txBody>
      </p:sp>
    </p:spTree>
    <p:extLst>
      <p:ext uri="{BB962C8B-B14F-4D97-AF65-F5344CB8AC3E}">
        <p14:creationId xmlns:p14="http://schemas.microsoft.com/office/powerpoint/2010/main" val="291584284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042315-B862-0611-BD64-C3E8F591A3ED}"/>
              </a:ext>
            </a:extLst>
          </p:cNvPr>
          <p:cNvGraphicFramePr>
            <a:graphicFrameLocks noChangeAspect="1"/>
          </p:cNvGraphicFramePr>
          <p:nvPr userDrawn="1">
            <p:custDataLst>
              <p:tags r:id="rId1"/>
            </p:custDataLst>
            <p:extLst>
              <p:ext uri="{D42A27DB-BD31-4B8C-83A1-F6EECF244321}">
                <p14:modId xmlns:p14="http://schemas.microsoft.com/office/powerpoint/2010/main" val="303026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91042315-B862-0611-BD64-C3E8F591A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raphic 8">
            <a:extLst>
              <a:ext uri="{FF2B5EF4-FFF2-40B4-BE49-F238E27FC236}">
                <a16:creationId xmlns:a16="http://schemas.microsoft.com/office/drawing/2014/main" id="{4AF946D8-46E3-E8BE-0EFB-3824296F2099}"/>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lnSpc>
                <a:spcPct val="80000"/>
              </a:lnSpc>
            </a:pPr>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D358B02E-BB88-B0C5-CD48-493EFB140498}"/>
              </a:ext>
            </a:extLst>
          </p:cNvPr>
          <p:cNvSpPr>
            <a:spLocks noGrp="1"/>
          </p:cNvSpPr>
          <p:nvPr>
            <p:ph type="body" sz="quarter" idx="18" hasCustomPrompt="1"/>
          </p:nvPr>
        </p:nvSpPr>
        <p:spPr>
          <a:xfrm>
            <a:off x="1117902" y="6493073"/>
            <a:ext cx="9365948"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11" name="Text Placeholder 2">
            <a:extLst>
              <a:ext uri="{FF2B5EF4-FFF2-40B4-BE49-F238E27FC236}">
                <a16:creationId xmlns:a16="http://schemas.microsoft.com/office/drawing/2014/main" id="{7735B803-017B-8232-124B-ECD762A921EB}"/>
              </a:ext>
            </a:extLst>
          </p:cNvPr>
          <p:cNvSpPr>
            <a:spLocks noGrp="1"/>
          </p:cNvSpPr>
          <p:nvPr>
            <p:ph type="body" sz="quarter" idx="19" hasCustomPrompt="1"/>
          </p:nvPr>
        </p:nvSpPr>
        <p:spPr>
          <a:xfrm>
            <a:off x="1117902" y="6623050"/>
            <a:ext cx="9365948"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14" name="TextBox 13">
            <a:extLst>
              <a:ext uri="{FF2B5EF4-FFF2-40B4-BE49-F238E27FC236}">
                <a16:creationId xmlns:a16="http://schemas.microsoft.com/office/drawing/2014/main" id="{B33A13D0-9311-4F81-D86D-866B8C99CAE4}"/>
              </a:ext>
            </a:extLst>
          </p:cNvPr>
          <p:cNvSpPr txBox="1"/>
          <p:nvPr userDrawn="1"/>
        </p:nvSpPr>
        <p:spPr>
          <a:xfrm>
            <a:off x="10504982" y="6617463"/>
            <a:ext cx="744608" cy="100990"/>
          </a:xfrm>
          <a:prstGeom prst="rect">
            <a:avLst/>
          </a:prstGeom>
          <a:noFill/>
        </p:spPr>
        <p:txBody>
          <a:bodyPr wrap="square" lIns="0" tIns="0" rIns="0" bIns="0" rtlCol="0">
            <a:spAutoFit/>
          </a:bodyPr>
          <a:lstStyle/>
          <a:p>
            <a:pPr algn="r" rtl="0">
              <a:lnSpc>
                <a:spcPct val="80000"/>
              </a:lnSpc>
            </a:pPr>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5" name="TextBox 14">
            <a:extLst>
              <a:ext uri="{FF2B5EF4-FFF2-40B4-BE49-F238E27FC236}">
                <a16:creationId xmlns:a16="http://schemas.microsoft.com/office/drawing/2014/main" id="{56962E2C-8D03-7472-34EC-760A4D65EE11}"/>
              </a:ext>
            </a:extLst>
          </p:cNvPr>
          <p:cNvSpPr txBox="1"/>
          <p:nvPr userDrawn="1"/>
        </p:nvSpPr>
        <p:spPr>
          <a:xfrm>
            <a:off x="11249590" y="6617463"/>
            <a:ext cx="251999" cy="100990"/>
          </a:xfrm>
          <a:prstGeom prst="rect">
            <a:avLst/>
          </a:prstGeom>
          <a:noFill/>
        </p:spPr>
        <p:txBody>
          <a:bodyPr wrap="square" lIns="0" tIns="0" rIns="0" bIns="0" rtlCol="0">
            <a:spAutoFit/>
          </a:bodyPr>
          <a:lstStyle/>
          <a:p>
            <a:pPr algn="r" rtl="0">
              <a:lnSpc>
                <a:spcPct val="80000"/>
              </a:lnSpc>
            </a:pP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lnSpc>
                  <a:spcPct val="80000"/>
                </a:lnSpc>
              </a:pPr>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1" name="Title Placeholder 1">
            <a:extLst>
              <a:ext uri="{FF2B5EF4-FFF2-40B4-BE49-F238E27FC236}">
                <a16:creationId xmlns:a16="http://schemas.microsoft.com/office/drawing/2014/main" id="{85B067A6-3909-DB62-81E8-604883F143DA}"/>
              </a:ext>
            </a:extLst>
          </p:cNvPr>
          <p:cNvSpPr>
            <a:spLocks noGrp="1"/>
          </p:cNvSpPr>
          <p:nvPr>
            <p:ph type="title" hasCustomPrompt="1"/>
          </p:nvPr>
        </p:nvSpPr>
        <p:spPr>
          <a:xfrm>
            <a:off x="552450" y="493518"/>
            <a:ext cx="11075988"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defTabSz="228600"/>
            <a:r>
              <a:rPr lang="en-US"/>
              <a:t>Slide Title – One line is better, two is also ok</a:t>
            </a:r>
          </a:p>
        </p:txBody>
      </p:sp>
      <p:sp>
        <p:nvSpPr>
          <p:cNvPr id="2" name="Text Placeholder 18">
            <a:extLst>
              <a:ext uri="{FF2B5EF4-FFF2-40B4-BE49-F238E27FC236}">
                <a16:creationId xmlns:a16="http://schemas.microsoft.com/office/drawing/2014/main" id="{917905C3-2C31-0E74-367D-10AE62173BE7}"/>
              </a:ext>
            </a:extLst>
          </p:cNvPr>
          <p:cNvSpPr>
            <a:spLocks noGrp="1"/>
          </p:cNvSpPr>
          <p:nvPr>
            <p:ph type="body" sz="quarter" idx="21" hasCustomPrompt="1"/>
          </p:nvPr>
        </p:nvSpPr>
        <p:spPr>
          <a:xfrm>
            <a:off x="552450" y="127228"/>
            <a:ext cx="2814638" cy="153888"/>
          </a:xfrm>
          <a:prstGeom prst="rect">
            <a:avLst/>
          </a:prstGeom>
        </p:spPr>
        <p:txBody>
          <a:bodyPr lIns="0" tIns="0" rIns="0" bIns="0">
            <a:spAutoFit/>
          </a:bodyPr>
          <a:lstStyle>
            <a:lvl1pPr rtl="0">
              <a:lnSpc>
                <a:spcPct val="100000"/>
              </a:lnSpc>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a:t>Section</a:t>
            </a:r>
          </a:p>
        </p:txBody>
      </p:sp>
    </p:spTree>
    <p:extLst>
      <p:ext uri="{BB962C8B-B14F-4D97-AF65-F5344CB8AC3E}">
        <p14:creationId xmlns:p14="http://schemas.microsoft.com/office/powerpoint/2010/main" val="3683605846"/>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TERNAL - Check Margins">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042315-B862-0611-BD64-C3E8F591A3ED}"/>
              </a:ext>
            </a:extLst>
          </p:cNvPr>
          <p:cNvGraphicFramePr>
            <a:graphicFrameLocks noChangeAspect="1"/>
          </p:cNvGraphicFramePr>
          <p:nvPr userDrawn="1">
            <p:custDataLst>
              <p:tags r:id="rId1"/>
            </p:custDataLst>
            <p:extLst>
              <p:ext uri="{D42A27DB-BD31-4B8C-83A1-F6EECF244321}">
                <p14:modId xmlns:p14="http://schemas.microsoft.com/office/powerpoint/2010/main" val="1203804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91042315-B862-0611-BD64-C3E8F591A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F5A65EE-26E9-DB69-586E-0A1F504CF8CA}"/>
              </a:ext>
            </a:extLst>
          </p:cNvPr>
          <p:cNvSpPr/>
          <p:nvPr userDrawn="1"/>
        </p:nvSpPr>
        <p:spPr>
          <a:xfrm>
            <a:off x="0" y="0"/>
            <a:ext cx="552450" cy="68580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0" name="Rectangle 19">
            <a:extLst>
              <a:ext uri="{FF2B5EF4-FFF2-40B4-BE49-F238E27FC236}">
                <a16:creationId xmlns:a16="http://schemas.microsoft.com/office/drawing/2014/main" id="{8860015F-774D-31BC-9FFA-12EC5E103DE1}"/>
              </a:ext>
            </a:extLst>
          </p:cNvPr>
          <p:cNvSpPr/>
          <p:nvPr userDrawn="1"/>
        </p:nvSpPr>
        <p:spPr>
          <a:xfrm>
            <a:off x="11641138" y="0"/>
            <a:ext cx="552450" cy="68580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1" name="Rectangle 20">
            <a:extLst>
              <a:ext uri="{FF2B5EF4-FFF2-40B4-BE49-F238E27FC236}">
                <a16:creationId xmlns:a16="http://schemas.microsoft.com/office/drawing/2014/main" id="{0425688F-8EBF-38BC-6246-B74EFEBDC27D}"/>
              </a:ext>
            </a:extLst>
          </p:cNvPr>
          <p:cNvSpPr/>
          <p:nvPr userDrawn="1"/>
        </p:nvSpPr>
        <p:spPr>
          <a:xfrm rot="16200000">
            <a:off x="5819121" y="517918"/>
            <a:ext cx="549275" cy="1213089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2" name="Rectangle 21">
            <a:extLst>
              <a:ext uri="{FF2B5EF4-FFF2-40B4-BE49-F238E27FC236}">
                <a16:creationId xmlns:a16="http://schemas.microsoft.com/office/drawing/2014/main" id="{455F700D-CA2C-6478-D847-69C19D4E089F}"/>
              </a:ext>
            </a:extLst>
          </p:cNvPr>
          <p:cNvSpPr/>
          <p:nvPr userDrawn="1"/>
        </p:nvSpPr>
        <p:spPr>
          <a:xfrm rot="16200000">
            <a:off x="5850868" y="-4500167"/>
            <a:ext cx="485780" cy="1213089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98A495D1-457C-5E14-AC73-016C76F0CD12}"/>
              </a:ext>
            </a:extLst>
          </p:cNvPr>
          <p:cNvSpPr/>
          <p:nvPr userDrawn="1"/>
        </p:nvSpPr>
        <p:spPr>
          <a:xfrm rot="16200000">
            <a:off x="5886450" y="-5457827"/>
            <a:ext cx="485775" cy="1140142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4" name="Title Placeholder 1">
            <a:extLst>
              <a:ext uri="{FF2B5EF4-FFF2-40B4-BE49-F238E27FC236}">
                <a16:creationId xmlns:a16="http://schemas.microsoft.com/office/drawing/2014/main" id="{A203089A-3EF4-BF1F-04BF-9DB2BCCE6A2B}"/>
              </a:ext>
            </a:extLst>
          </p:cNvPr>
          <p:cNvSpPr>
            <a:spLocks noGrp="1"/>
          </p:cNvSpPr>
          <p:nvPr>
            <p:ph type="title" hasCustomPrompt="1"/>
          </p:nvPr>
        </p:nvSpPr>
        <p:spPr>
          <a:xfrm>
            <a:off x="552450" y="493517"/>
            <a:ext cx="11075988"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defTabSz="228600"/>
            <a:r>
              <a:rPr lang="en-US"/>
              <a:t>Slide Title - Internal – Aim to stay inside the margins</a:t>
            </a:r>
          </a:p>
        </p:txBody>
      </p:sp>
      <p:sp>
        <p:nvSpPr>
          <p:cNvPr id="6" name="Graphic 8">
            <a:extLst>
              <a:ext uri="{FF2B5EF4-FFF2-40B4-BE49-F238E27FC236}">
                <a16:creationId xmlns:a16="http://schemas.microsoft.com/office/drawing/2014/main" id="{90F46A96-2026-5B16-5243-7582E77C78F4}"/>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F8C84EA2-044E-4A87-E133-98B06559E7C3}"/>
              </a:ext>
            </a:extLst>
          </p:cNvPr>
          <p:cNvSpPr>
            <a:spLocks noGrp="1"/>
          </p:cNvSpPr>
          <p:nvPr>
            <p:ph type="body" sz="quarter" idx="18" hasCustomPrompt="1"/>
          </p:nvPr>
        </p:nvSpPr>
        <p:spPr>
          <a:xfrm>
            <a:off x="1117902" y="6493073"/>
            <a:ext cx="9365948" cy="120174"/>
          </a:xfrm>
          <a:prstGeom prst="rect">
            <a:avLst/>
          </a:prstGeom>
        </p:spPr>
        <p:txBody>
          <a:bodyPr lIns="0" tIns="0" rIns="0" bIns="0" anchor="b" anchorCtr="0"/>
          <a:lstStyle>
            <a:lvl1pPr rtl="0">
              <a:lnSpc>
                <a:spcPct val="100000"/>
              </a:lnSpc>
              <a:spcBef>
                <a:spcPts val="0"/>
              </a:spcBef>
              <a:defRPr sz="9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1) Click to add footnotes (2) Click to add footnotes (3) Click to add footnotes </a:t>
            </a:r>
          </a:p>
        </p:txBody>
      </p:sp>
      <p:sp>
        <p:nvSpPr>
          <p:cNvPr id="11" name="Text Placeholder 2">
            <a:extLst>
              <a:ext uri="{FF2B5EF4-FFF2-40B4-BE49-F238E27FC236}">
                <a16:creationId xmlns:a16="http://schemas.microsoft.com/office/drawing/2014/main" id="{A6E6A1FF-055A-3F35-B737-0B821FE7BC27}"/>
              </a:ext>
            </a:extLst>
          </p:cNvPr>
          <p:cNvSpPr>
            <a:spLocks noGrp="1"/>
          </p:cNvSpPr>
          <p:nvPr>
            <p:ph type="body" sz="quarter" idx="19" hasCustomPrompt="1"/>
          </p:nvPr>
        </p:nvSpPr>
        <p:spPr>
          <a:xfrm>
            <a:off x="1117902" y="6623050"/>
            <a:ext cx="9365948" cy="117525"/>
          </a:xfrm>
          <a:prstGeom prst="rect">
            <a:avLst/>
          </a:prstGeom>
        </p:spPr>
        <p:txBody>
          <a:bodyPr lIns="0" tIns="0" rIns="0" anchor="ctr" anchorCtr="0"/>
          <a:lstStyle>
            <a:lvl1pPr rtl="0">
              <a:lnSpc>
                <a:spcPct val="100000"/>
              </a:lnSpc>
              <a:spcBef>
                <a:spcPts val="0"/>
              </a:spcBef>
              <a:defRPr sz="9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US"/>
              <a:t>Source: Click to add sources</a:t>
            </a:r>
          </a:p>
        </p:txBody>
      </p:sp>
      <p:sp>
        <p:nvSpPr>
          <p:cNvPr id="26" name="TextBox 25">
            <a:extLst>
              <a:ext uri="{FF2B5EF4-FFF2-40B4-BE49-F238E27FC236}">
                <a16:creationId xmlns:a16="http://schemas.microsoft.com/office/drawing/2014/main" id="{F8B27EF8-19D3-A006-F102-90E46106080B}"/>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27" name="TextBox 26">
            <a:extLst>
              <a:ext uri="{FF2B5EF4-FFF2-40B4-BE49-F238E27FC236}">
                <a16:creationId xmlns:a16="http://schemas.microsoft.com/office/drawing/2014/main" id="{24E7C3CD-8F71-B32E-3FD0-847A62B9B802}"/>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8" name="Title Placeholder 1">
            <a:extLst>
              <a:ext uri="{FF2B5EF4-FFF2-40B4-BE49-F238E27FC236}">
                <a16:creationId xmlns:a16="http://schemas.microsoft.com/office/drawing/2014/main" id="{C4D0223B-D156-3AF1-DAD4-688ABD71BFD3}"/>
              </a:ext>
            </a:extLst>
          </p:cNvPr>
          <p:cNvSpPr txBox="1">
            <a:spLocks/>
          </p:cNvSpPr>
          <p:nvPr userDrawn="1"/>
        </p:nvSpPr>
        <p:spPr>
          <a:xfrm>
            <a:off x="565150" y="1418780"/>
            <a:ext cx="11075988" cy="261610"/>
          </a:xfrm>
          <a:prstGeom prst="rect">
            <a:avLst/>
          </a:prstGeom>
        </p:spPr>
        <p:txBody>
          <a:bodyPr vert="horz" wrap="square" lIns="0" tIns="0" rIns="0" bIns="0" rtlCol="0" anchor="t" anchorCtr="0">
            <a:spAutoFit/>
          </a:bodyPr>
          <a:lstStyle>
            <a:lvl1pPr algn="l" defTabSz="914355" rtl="0" eaLnBrk="1" latinLnBrk="0" hangingPunct="1">
              <a:lnSpc>
                <a:spcPct val="100000"/>
              </a:lnSpc>
              <a:spcBef>
                <a:spcPct val="0"/>
              </a:spcBef>
              <a:buNone/>
              <a:defRPr lang="en-US" sz="2800" b="1" i="0" kern="1200" cap="none"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algn="ctr" rtl="0">
              <a:lnSpc>
                <a:spcPct val="84000"/>
              </a:lnSpc>
            </a:pPr>
            <a:r>
              <a:rPr lang="en-US" sz="2000" b="0" i="1">
                <a:solidFill>
                  <a:schemeClr val="accent4"/>
                </a:solidFill>
                <a:latin typeface="Arial" panose="020B0604020202020204" pitchFamily="34" charset="0"/>
                <a:cs typeface="Arial" panose="020B0604020202020204" pitchFamily="34" charset="0"/>
                <a:sym typeface="Arial" panose="020B0604020202020204" pitchFamily="34" charset="0"/>
              </a:rPr>
              <a:t>[Do not use this space]</a:t>
            </a:r>
          </a:p>
        </p:txBody>
      </p:sp>
      <p:sp>
        <p:nvSpPr>
          <p:cNvPr id="9" name="Title Placeholder 1">
            <a:extLst>
              <a:ext uri="{FF2B5EF4-FFF2-40B4-BE49-F238E27FC236}">
                <a16:creationId xmlns:a16="http://schemas.microsoft.com/office/drawing/2014/main" id="{518373C0-DA1F-A6F2-38B9-5E030BA17B80}"/>
              </a:ext>
            </a:extLst>
          </p:cNvPr>
          <p:cNvSpPr txBox="1">
            <a:spLocks/>
          </p:cNvSpPr>
          <p:nvPr userDrawn="1"/>
        </p:nvSpPr>
        <p:spPr>
          <a:xfrm>
            <a:off x="565150" y="112080"/>
            <a:ext cx="11075988" cy="261610"/>
          </a:xfrm>
          <a:prstGeom prst="rect">
            <a:avLst/>
          </a:prstGeom>
        </p:spPr>
        <p:txBody>
          <a:bodyPr vert="horz" wrap="square" lIns="0" tIns="0" rIns="0" bIns="0" rtlCol="0" anchor="t" anchorCtr="0">
            <a:spAutoFit/>
          </a:bodyPr>
          <a:lstStyle>
            <a:lvl1pPr algn="l" defTabSz="914355" rtl="0" eaLnBrk="1" latinLnBrk="0" hangingPunct="1">
              <a:lnSpc>
                <a:spcPct val="100000"/>
              </a:lnSpc>
              <a:spcBef>
                <a:spcPct val="0"/>
              </a:spcBef>
              <a:buNone/>
              <a:defRPr lang="en-US" sz="2800" b="1" i="0" kern="1200" cap="none"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algn="ctr" rtl="0">
              <a:lnSpc>
                <a:spcPct val="84000"/>
              </a:lnSpc>
            </a:pPr>
            <a:r>
              <a:rPr lang="en-US" sz="2000" b="0" i="1">
                <a:solidFill>
                  <a:schemeClr val="accent4"/>
                </a:solidFill>
                <a:latin typeface="Arial" panose="020B0604020202020204" pitchFamily="34" charset="0"/>
                <a:cs typeface="Arial" panose="020B0604020202020204" pitchFamily="34" charset="0"/>
                <a:sym typeface="Arial" panose="020B0604020202020204" pitchFamily="34" charset="0"/>
              </a:rPr>
              <a:t>[Do not use this space]</a:t>
            </a:r>
          </a:p>
        </p:txBody>
      </p:sp>
      <p:sp>
        <p:nvSpPr>
          <p:cNvPr id="7" name="Text Placeholder 18">
            <a:extLst>
              <a:ext uri="{FF2B5EF4-FFF2-40B4-BE49-F238E27FC236}">
                <a16:creationId xmlns:a16="http://schemas.microsoft.com/office/drawing/2014/main" id="{FCDAA1EF-B17C-6D51-FD9B-7A90E6BDBD48}"/>
              </a:ext>
            </a:extLst>
          </p:cNvPr>
          <p:cNvSpPr>
            <a:spLocks noGrp="1"/>
          </p:cNvSpPr>
          <p:nvPr>
            <p:ph type="body" sz="quarter" idx="21" hasCustomPrompt="1"/>
          </p:nvPr>
        </p:nvSpPr>
        <p:spPr>
          <a:xfrm>
            <a:off x="552450" y="127228"/>
            <a:ext cx="2814638" cy="153888"/>
          </a:xfrm>
          <a:prstGeom prst="rect">
            <a:avLst/>
          </a:prstGeom>
        </p:spPr>
        <p:txBody>
          <a:bodyPr lIns="0" tIns="0" rIns="0" bIns="0">
            <a:spAutoFit/>
          </a:bodyPr>
          <a:lstStyle>
            <a:lvl1pPr rtl="0">
              <a:lnSpc>
                <a:spcPct val="100000"/>
              </a:lnSpc>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a:t>Section</a:t>
            </a:r>
          </a:p>
        </p:txBody>
      </p:sp>
    </p:spTree>
    <p:extLst>
      <p:ext uri="{BB962C8B-B14F-4D97-AF65-F5344CB8AC3E}">
        <p14:creationId xmlns:p14="http://schemas.microsoft.com/office/powerpoint/2010/main" val="68111756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 Arrow">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B9401F-2EB1-9C2D-8A61-0732AC01B5F4}"/>
              </a:ext>
            </a:extLst>
          </p:cNvPr>
          <p:cNvGraphicFramePr>
            <a:graphicFrameLocks noChangeAspect="1"/>
          </p:cNvGraphicFramePr>
          <p:nvPr userDrawn="1">
            <p:custDataLst>
              <p:tags r:id="rId1"/>
            </p:custDataLst>
            <p:extLst>
              <p:ext uri="{D42A27DB-BD31-4B8C-83A1-F6EECF244321}">
                <p14:modId xmlns:p14="http://schemas.microsoft.com/office/powerpoint/2010/main" val="242484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05B9401F-2EB1-9C2D-8A61-0732AC01B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9F29327-316B-62D7-6BC9-27DE9F0BB32E}"/>
              </a:ext>
            </a:extLst>
          </p:cNvPr>
          <p:cNvSpPr/>
          <p:nvPr userDrawn="1"/>
        </p:nvSpPr>
        <p:spPr>
          <a:xfrm>
            <a:off x="4293704" y="0"/>
            <a:ext cx="789988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100000"/>
              </a:lnSpc>
            </a:pPr>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7" name="Pentagon 16">
            <a:extLst>
              <a:ext uri="{FF2B5EF4-FFF2-40B4-BE49-F238E27FC236}">
                <a16:creationId xmlns:a16="http://schemas.microsoft.com/office/drawing/2014/main" id="{145A3CF0-85DA-989D-C987-B8194591CC7D}"/>
              </a:ext>
            </a:extLst>
          </p:cNvPr>
          <p:cNvSpPr/>
          <p:nvPr userDrawn="1"/>
        </p:nvSpPr>
        <p:spPr>
          <a:xfrm rot="10800000">
            <a:off x="3239427" y="0"/>
            <a:ext cx="1801249" cy="6858000"/>
          </a:xfrm>
          <a:custGeom>
            <a:avLst/>
            <a:gdLst>
              <a:gd name="connsiteX0" fmla="*/ 0 w 3602498"/>
              <a:gd name="connsiteY0" fmla="*/ 0 h 6858000"/>
              <a:gd name="connsiteX1" fmla="*/ 1801249 w 3602498"/>
              <a:gd name="connsiteY1" fmla="*/ 0 h 6858000"/>
              <a:gd name="connsiteX2" fmla="*/ 3602498 w 3602498"/>
              <a:gd name="connsiteY2" fmla="*/ 3429000 h 6858000"/>
              <a:gd name="connsiteX3" fmla="*/ 1801249 w 3602498"/>
              <a:gd name="connsiteY3" fmla="*/ 6858000 h 6858000"/>
              <a:gd name="connsiteX4" fmla="*/ 0 w 3602498"/>
              <a:gd name="connsiteY4" fmla="*/ 6858000 h 6858000"/>
              <a:gd name="connsiteX5" fmla="*/ 0 w 3602498"/>
              <a:gd name="connsiteY5" fmla="*/ 0 h 6858000"/>
              <a:gd name="connsiteX0" fmla="*/ 0 w 1801249"/>
              <a:gd name="connsiteY0" fmla="*/ 0 h 6858000"/>
              <a:gd name="connsiteX1" fmla="*/ 1801249 w 1801249"/>
              <a:gd name="connsiteY1" fmla="*/ 0 h 6858000"/>
              <a:gd name="connsiteX2" fmla="*/ 885802 w 1801249"/>
              <a:gd name="connsiteY2" fmla="*/ 3395870 h 6858000"/>
              <a:gd name="connsiteX3" fmla="*/ 1801249 w 1801249"/>
              <a:gd name="connsiteY3" fmla="*/ 6858000 h 6858000"/>
              <a:gd name="connsiteX4" fmla="*/ 0 w 1801249"/>
              <a:gd name="connsiteY4" fmla="*/ 6858000 h 6858000"/>
              <a:gd name="connsiteX5" fmla="*/ 0 w 1801249"/>
              <a:gd name="connsiteY5" fmla="*/ 0 h 6858000"/>
              <a:gd name="connsiteX0" fmla="*/ 0 w 1801249"/>
              <a:gd name="connsiteY0" fmla="*/ 0 h 6858000"/>
              <a:gd name="connsiteX1" fmla="*/ 1801249 w 1801249"/>
              <a:gd name="connsiteY1" fmla="*/ 0 h 6858000"/>
              <a:gd name="connsiteX2" fmla="*/ 991820 w 1801249"/>
              <a:gd name="connsiteY2" fmla="*/ 3409122 h 6858000"/>
              <a:gd name="connsiteX3" fmla="*/ 1801249 w 1801249"/>
              <a:gd name="connsiteY3" fmla="*/ 6858000 h 6858000"/>
              <a:gd name="connsiteX4" fmla="*/ 0 w 1801249"/>
              <a:gd name="connsiteY4" fmla="*/ 6858000 h 6858000"/>
              <a:gd name="connsiteX5" fmla="*/ 0 w 180124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1249" h="6858000">
                <a:moveTo>
                  <a:pt x="0" y="0"/>
                </a:moveTo>
                <a:lnTo>
                  <a:pt x="1801249" y="0"/>
                </a:lnTo>
                <a:lnTo>
                  <a:pt x="991820" y="3409122"/>
                </a:lnTo>
                <a:lnTo>
                  <a:pt x="1801249"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100000"/>
              </a:lnSpc>
            </a:pPr>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 name="Title 10">
            <a:extLst>
              <a:ext uri="{FF2B5EF4-FFF2-40B4-BE49-F238E27FC236}">
                <a16:creationId xmlns:a16="http://schemas.microsoft.com/office/drawing/2014/main" id="{DCB7519C-2524-8233-54C8-DDB720E8D1AD}"/>
              </a:ext>
            </a:extLst>
          </p:cNvPr>
          <p:cNvSpPr>
            <a:spLocks noGrp="1"/>
          </p:cNvSpPr>
          <p:nvPr>
            <p:ph type="title" hasCustomPrompt="1"/>
          </p:nvPr>
        </p:nvSpPr>
        <p:spPr>
          <a:xfrm>
            <a:off x="552450" y="493518"/>
            <a:ext cx="2686976"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defTabSz="228600"/>
            <a:r>
              <a:rPr lang="en-US"/>
              <a:t>Slide Title</a:t>
            </a:r>
          </a:p>
        </p:txBody>
      </p:sp>
      <p:sp>
        <p:nvSpPr>
          <p:cNvPr id="14" name="Text Placeholder 2">
            <a:extLst>
              <a:ext uri="{FF2B5EF4-FFF2-40B4-BE49-F238E27FC236}">
                <a16:creationId xmlns:a16="http://schemas.microsoft.com/office/drawing/2014/main" id="{5149B1A9-1EFD-E923-6BD4-E90FCECE0097}"/>
              </a:ext>
            </a:extLst>
          </p:cNvPr>
          <p:cNvSpPr>
            <a:spLocks noGrp="1"/>
          </p:cNvSpPr>
          <p:nvPr>
            <p:ph type="body" sz="quarter" idx="18" hasCustomPrompt="1"/>
          </p:nvPr>
        </p:nvSpPr>
        <p:spPr>
          <a:xfrm>
            <a:off x="4012891" y="6493073"/>
            <a:ext cx="6228000"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15" name="Text Placeholder 2">
            <a:extLst>
              <a:ext uri="{FF2B5EF4-FFF2-40B4-BE49-F238E27FC236}">
                <a16:creationId xmlns:a16="http://schemas.microsoft.com/office/drawing/2014/main" id="{33C1DB6D-14A5-7134-C3E2-45EF690DDD80}"/>
              </a:ext>
            </a:extLst>
          </p:cNvPr>
          <p:cNvSpPr>
            <a:spLocks noGrp="1"/>
          </p:cNvSpPr>
          <p:nvPr>
            <p:ph type="body" sz="quarter" idx="19" hasCustomPrompt="1"/>
          </p:nvPr>
        </p:nvSpPr>
        <p:spPr>
          <a:xfrm>
            <a:off x="4012891" y="6623050"/>
            <a:ext cx="6228000"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2" name="Text Placeholder 7">
            <a:extLst>
              <a:ext uri="{FF2B5EF4-FFF2-40B4-BE49-F238E27FC236}">
                <a16:creationId xmlns:a16="http://schemas.microsoft.com/office/drawing/2014/main" id="{AA13A1C1-039E-6B75-C454-6DDDFC61AEC3}"/>
              </a:ext>
            </a:extLst>
          </p:cNvPr>
          <p:cNvSpPr>
            <a:spLocks noGrp="1"/>
          </p:cNvSpPr>
          <p:nvPr>
            <p:ph type="body" sz="quarter" idx="57" hasCustomPrompt="1"/>
          </p:nvPr>
        </p:nvSpPr>
        <p:spPr>
          <a:xfrm>
            <a:off x="4012890" y="493518"/>
            <a:ext cx="7628247" cy="430887"/>
          </a:xfrm>
          <a:prstGeom prst="rect">
            <a:avLst/>
          </a:prstGeom>
          <a:noFill/>
        </p:spPr>
        <p:txBody>
          <a:bodyPr vert="horz" wrap="square" lIns="0" tIns="0" rIns="0" bIns="0" rtlCol="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defTabSz="228600">
              <a:lnSpc>
                <a:spcPct val="100000"/>
              </a:lnSpc>
              <a:spcBef>
                <a:spcPct val="0"/>
              </a:spcBef>
            </a:pPr>
            <a:r>
              <a:rPr lang="en-US"/>
              <a:t>[Optional - Heading</a:t>
            </a:r>
          </a:p>
        </p:txBody>
      </p:sp>
      <p:sp>
        <p:nvSpPr>
          <p:cNvPr id="8" name="Graphic 8">
            <a:extLst>
              <a:ext uri="{FF2B5EF4-FFF2-40B4-BE49-F238E27FC236}">
                <a16:creationId xmlns:a16="http://schemas.microsoft.com/office/drawing/2014/main" id="{2B2255A8-C184-24FD-F82A-3C5DAADDE212}"/>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lnSpc>
                <a:spcPct val="100000"/>
              </a:lnSpc>
            </a:pPr>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1" name="TextBox 10">
            <a:extLst>
              <a:ext uri="{FF2B5EF4-FFF2-40B4-BE49-F238E27FC236}">
                <a16:creationId xmlns:a16="http://schemas.microsoft.com/office/drawing/2014/main" id="{14CE86EA-99C2-A673-46B8-9264474B3FD4}"/>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lnSpc>
                <a:spcPct val="100000"/>
              </a:lnSpc>
            </a:pPr>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2" name="TextBox 11">
            <a:extLst>
              <a:ext uri="{FF2B5EF4-FFF2-40B4-BE49-F238E27FC236}">
                <a16:creationId xmlns:a16="http://schemas.microsoft.com/office/drawing/2014/main" id="{A6742457-56A5-5C5E-2940-1B2C1E7DF161}"/>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lnSpc>
                <a:spcPct val="100000"/>
              </a:lnSpc>
            </a:pP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lnSpc>
                  <a:spcPct val="100000"/>
                </a:lnSpc>
              </a:pPr>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9" name="Text Placeholder 18">
            <a:extLst>
              <a:ext uri="{FF2B5EF4-FFF2-40B4-BE49-F238E27FC236}">
                <a16:creationId xmlns:a16="http://schemas.microsoft.com/office/drawing/2014/main" id="{17C5079C-5E59-1447-BC1E-AC07750FB3E2}"/>
              </a:ext>
            </a:extLst>
          </p:cNvPr>
          <p:cNvSpPr>
            <a:spLocks noGrp="1"/>
          </p:cNvSpPr>
          <p:nvPr>
            <p:ph type="body" sz="quarter" idx="21" hasCustomPrompt="1"/>
          </p:nvPr>
        </p:nvSpPr>
        <p:spPr>
          <a:xfrm>
            <a:off x="552450" y="127228"/>
            <a:ext cx="2508250" cy="153888"/>
          </a:xfrm>
          <a:prstGeom prst="rect">
            <a:avLst/>
          </a:prstGeom>
        </p:spPr>
        <p:txBody>
          <a:bodyPr wrap="square" lIns="0" tIns="0" rIns="0" bIns="0">
            <a:spAutoFit/>
          </a:bodyPr>
          <a:lstStyle>
            <a:lvl1pPr rtl="0">
              <a:lnSpc>
                <a:spcPct val="100000"/>
              </a:lnSpc>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a:t>Section</a:t>
            </a:r>
          </a:p>
        </p:txBody>
      </p:sp>
    </p:spTree>
    <p:extLst>
      <p:ext uri="{BB962C8B-B14F-4D97-AF65-F5344CB8AC3E}">
        <p14:creationId xmlns:p14="http://schemas.microsoft.com/office/powerpoint/2010/main" val="3236817770"/>
      </p:ext>
    </p:extLst>
  </p:cSld>
  <p:clrMapOvr>
    <a:masterClrMapping/>
  </p:clrMapOvr>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 Arrow">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F5E2126-CF25-EA15-98C7-80A118F45B9C}"/>
              </a:ext>
            </a:extLst>
          </p:cNvPr>
          <p:cNvGraphicFramePr>
            <a:graphicFrameLocks noChangeAspect="1"/>
          </p:cNvGraphicFramePr>
          <p:nvPr userDrawn="1">
            <p:custDataLst>
              <p:tags r:id="rId1"/>
            </p:custDataLst>
            <p:extLst>
              <p:ext uri="{D42A27DB-BD31-4B8C-83A1-F6EECF244321}">
                <p14:modId xmlns:p14="http://schemas.microsoft.com/office/powerpoint/2010/main" val="1754813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1" name="think-cell data - do not delete" hidden="1">
                        <a:extLst>
                          <a:ext uri="{FF2B5EF4-FFF2-40B4-BE49-F238E27FC236}">
                            <a16:creationId xmlns:a16="http://schemas.microsoft.com/office/drawing/2014/main" id="{4F5E2126-CF25-EA15-98C7-80A118F45B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34A603B-53C7-D300-1872-1FDA851DEC42}"/>
              </a:ext>
            </a:extLst>
          </p:cNvPr>
          <p:cNvSpPr/>
          <p:nvPr userDrawn="1"/>
        </p:nvSpPr>
        <p:spPr>
          <a:xfrm>
            <a:off x="7151688" y="0"/>
            <a:ext cx="50419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8" name="Pentagon 16">
            <a:extLst>
              <a:ext uri="{FF2B5EF4-FFF2-40B4-BE49-F238E27FC236}">
                <a16:creationId xmlns:a16="http://schemas.microsoft.com/office/drawing/2014/main" id="{57F56D34-AF47-4075-BF0B-1170E6B9F8CB}"/>
              </a:ext>
            </a:extLst>
          </p:cNvPr>
          <p:cNvSpPr/>
          <p:nvPr userDrawn="1"/>
        </p:nvSpPr>
        <p:spPr>
          <a:xfrm rot="10800000">
            <a:off x="5764576" y="0"/>
            <a:ext cx="1633972" cy="6858000"/>
          </a:xfrm>
          <a:custGeom>
            <a:avLst/>
            <a:gdLst>
              <a:gd name="connsiteX0" fmla="*/ 0 w 3602498"/>
              <a:gd name="connsiteY0" fmla="*/ 0 h 6858000"/>
              <a:gd name="connsiteX1" fmla="*/ 1801249 w 3602498"/>
              <a:gd name="connsiteY1" fmla="*/ 0 h 6858000"/>
              <a:gd name="connsiteX2" fmla="*/ 3602498 w 3602498"/>
              <a:gd name="connsiteY2" fmla="*/ 3429000 h 6858000"/>
              <a:gd name="connsiteX3" fmla="*/ 1801249 w 3602498"/>
              <a:gd name="connsiteY3" fmla="*/ 6858000 h 6858000"/>
              <a:gd name="connsiteX4" fmla="*/ 0 w 3602498"/>
              <a:gd name="connsiteY4" fmla="*/ 6858000 h 6858000"/>
              <a:gd name="connsiteX5" fmla="*/ 0 w 3602498"/>
              <a:gd name="connsiteY5" fmla="*/ 0 h 6858000"/>
              <a:gd name="connsiteX0" fmla="*/ 0 w 1801249"/>
              <a:gd name="connsiteY0" fmla="*/ 0 h 6858000"/>
              <a:gd name="connsiteX1" fmla="*/ 1801249 w 1801249"/>
              <a:gd name="connsiteY1" fmla="*/ 0 h 6858000"/>
              <a:gd name="connsiteX2" fmla="*/ 885802 w 1801249"/>
              <a:gd name="connsiteY2" fmla="*/ 3395870 h 6858000"/>
              <a:gd name="connsiteX3" fmla="*/ 1801249 w 1801249"/>
              <a:gd name="connsiteY3" fmla="*/ 6858000 h 6858000"/>
              <a:gd name="connsiteX4" fmla="*/ 0 w 1801249"/>
              <a:gd name="connsiteY4" fmla="*/ 6858000 h 6858000"/>
              <a:gd name="connsiteX5" fmla="*/ 0 w 1801249"/>
              <a:gd name="connsiteY5" fmla="*/ 0 h 6858000"/>
              <a:gd name="connsiteX0" fmla="*/ 0 w 1801249"/>
              <a:gd name="connsiteY0" fmla="*/ 0 h 6858000"/>
              <a:gd name="connsiteX1" fmla="*/ 1801249 w 1801249"/>
              <a:gd name="connsiteY1" fmla="*/ 0 h 6858000"/>
              <a:gd name="connsiteX2" fmla="*/ 991820 w 1801249"/>
              <a:gd name="connsiteY2" fmla="*/ 3409122 h 6858000"/>
              <a:gd name="connsiteX3" fmla="*/ 1801249 w 1801249"/>
              <a:gd name="connsiteY3" fmla="*/ 6858000 h 6858000"/>
              <a:gd name="connsiteX4" fmla="*/ 0 w 1801249"/>
              <a:gd name="connsiteY4" fmla="*/ 6858000 h 6858000"/>
              <a:gd name="connsiteX5" fmla="*/ 0 w 180124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1249" h="6858000">
                <a:moveTo>
                  <a:pt x="0" y="0"/>
                </a:moveTo>
                <a:lnTo>
                  <a:pt x="1801249" y="0"/>
                </a:lnTo>
                <a:lnTo>
                  <a:pt x="991820" y="3409122"/>
                </a:lnTo>
                <a:lnTo>
                  <a:pt x="1801249"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4" name="Title 10">
            <a:extLst>
              <a:ext uri="{FF2B5EF4-FFF2-40B4-BE49-F238E27FC236}">
                <a16:creationId xmlns:a16="http://schemas.microsoft.com/office/drawing/2014/main" id="{873207BB-C008-161D-687C-F94491F1AE24}"/>
              </a:ext>
            </a:extLst>
          </p:cNvPr>
          <p:cNvSpPr>
            <a:spLocks noGrp="1"/>
          </p:cNvSpPr>
          <p:nvPr>
            <p:ph type="title" hasCustomPrompt="1"/>
          </p:nvPr>
        </p:nvSpPr>
        <p:spPr>
          <a:xfrm>
            <a:off x="552450" y="493518"/>
            <a:ext cx="5091550"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defTabSz="228600"/>
            <a:r>
              <a:rPr lang="en-US"/>
              <a:t>Slide Title</a:t>
            </a:r>
          </a:p>
        </p:txBody>
      </p:sp>
      <p:sp>
        <p:nvSpPr>
          <p:cNvPr id="12" name="Text Placeholder 2">
            <a:extLst>
              <a:ext uri="{FF2B5EF4-FFF2-40B4-BE49-F238E27FC236}">
                <a16:creationId xmlns:a16="http://schemas.microsoft.com/office/drawing/2014/main" id="{004139E0-4D99-688B-9AF4-E90532C352F8}"/>
              </a:ext>
            </a:extLst>
          </p:cNvPr>
          <p:cNvSpPr>
            <a:spLocks noGrp="1"/>
          </p:cNvSpPr>
          <p:nvPr>
            <p:ph type="body" sz="quarter" idx="18" hasCustomPrompt="1"/>
          </p:nvPr>
        </p:nvSpPr>
        <p:spPr>
          <a:xfrm>
            <a:off x="1117902" y="6493073"/>
            <a:ext cx="4538798"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13" name="Text Placeholder 2">
            <a:extLst>
              <a:ext uri="{FF2B5EF4-FFF2-40B4-BE49-F238E27FC236}">
                <a16:creationId xmlns:a16="http://schemas.microsoft.com/office/drawing/2014/main" id="{F99EEF1E-7838-3D6A-71E3-64E158F39E68}"/>
              </a:ext>
            </a:extLst>
          </p:cNvPr>
          <p:cNvSpPr>
            <a:spLocks noGrp="1"/>
          </p:cNvSpPr>
          <p:nvPr>
            <p:ph type="body" sz="quarter" idx="19" hasCustomPrompt="1"/>
          </p:nvPr>
        </p:nvSpPr>
        <p:spPr>
          <a:xfrm>
            <a:off x="1117902" y="6623050"/>
            <a:ext cx="4538798"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2" name="Text Placeholder 7">
            <a:extLst>
              <a:ext uri="{FF2B5EF4-FFF2-40B4-BE49-F238E27FC236}">
                <a16:creationId xmlns:a16="http://schemas.microsoft.com/office/drawing/2014/main" id="{6BF25F34-EEA9-2CD9-3424-007C8CC0CDB3}"/>
              </a:ext>
            </a:extLst>
          </p:cNvPr>
          <p:cNvSpPr>
            <a:spLocks noGrp="1"/>
          </p:cNvSpPr>
          <p:nvPr>
            <p:ph type="body" sz="quarter" idx="57" hasCustomPrompt="1"/>
          </p:nvPr>
        </p:nvSpPr>
        <p:spPr>
          <a:xfrm>
            <a:off x="6459688" y="493518"/>
            <a:ext cx="5181450" cy="430887"/>
          </a:xfrm>
          <a:prstGeom prst="rect">
            <a:avLst/>
          </a:prstGeom>
          <a:noFill/>
        </p:spPr>
        <p:txBody>
          <a:bodyPr vert="horz" wrap="square" lIns="0" tIns="0" rIns="0" bIns="0" rtlCol="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defTabSz="228600">
              <a:lnSpc>
                <a:spcPct val="100000"/>
              </a:lnSpc>
              <a:spcBef>
                <a:spcPct val="0"/>
              </a:spcBef>
            </a:pPr>
            <a:r>
              <a:rPr lang="en-US"/>
              <a:t>[Optional – Heading]</a:t>
            </a:r>
          </a:p>
        </p:txBody>
      </p:sp>
      <p:sp>
        <p:nvSpPr>
          <p:cNvPr id="15" name="Graphic 8">
            <a:extLst>
              <a:ext uri="{FF2B5EF4-FFF2-40B4-BE49-F238E27FC236}">
                <a16:creationId xmlns:a16="http://schemas.microsoft.com/office/drawing/2014/main" id="{FCD4427C-119B-44CF-123C-B64BD0B2F20F}"/>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95E84115-5FF6-C5B5-3A7E-319256EC8BF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27" name="TextBox 26">
            <a:extLst>
              <a:ext uri="{FF2B5EF4-FFF2-40B4-BE49-F238E27FC236}">
                <a16:creationId xmlns:a16="http://schemas.microsoft.com/office/drawing/2014/main" id="{347B0294-E33D-3B54-D0BD-1A8BADA3F956}"/>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8" name="Text Placeholder 18">
            <a:extLst>
              <a:ext uri="{FF2B5EF4-FFF2-40B4-BE49-F238E27FC236}">
                <a16:creationId xmlns:a16="http://schemas.microsoft.com/office/drawing/2014/main" id="{39FD50A6-B7E5-48F1-8812-B8BFDDBCCBF7}"/>
              </a:ext>
            </a:extLst>
          </p:cNvPr>
          <p:cNvSpPr>
            <a:spLocks noGrp="1"/>
          </p:cNvSpPr>
          <p:nvPr>
            <p:ph type="body" sz="quarter" idx="21" hasCustomPrompt="1"/>
          </p:nvPr>
        </p:nvSpPr>
        <p:spPr>
          <a:xfrm>
            <a:off x="552450" y="127228"/>
            <a:ext cx="2814638" cy="153888"/>
          </a:xfrm>
          <a:prstGeom prst="rect">
            <a:avLst/>
          </a:prstGeom>
        </p:spPr>
        <p:txBody>
          <a:bodyPr lIns="0" tIns="0" rIns="0" bIns="0">
            <a:spAutoFit/>
          </a:bodyPr>
          <a:lstStyle>
            <a:lvl1pPr rtl="0">
              <a:lnSpc>
                <a:spcPct val="100000"/>
              </a:lnSpc>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a:t>Section</a:t>
            </a:r>
          </a:p>
        </p:txBody>
      </p:sp>
    </p:spTree>
    <p:extLst>
      <p:ext uri="{BB962C8B-B14F-4D97-AF65-F5344CB8AC3E}">
        <p14:creationId xmlns:p14="http://schemas.microsoft.com/office/powerpoint/2010/main" val="2385862998"/>
      </p:ext>
    </p:extLst>
  </p:cSld>
  <p:clrMapOvr>
    <a:masterClrMapping/>
  </p:clrMapOvr>
  <p:extLst>
    <p:ext uri="{DCECCB84-F9BA-43D5-87BE-67443E8EF086}">
      <p15:sldGuideLst xmlns:p15="http://schemas.microsoft.com/office/powerpoint/2012/main">
        <p15:guide id="4" orient="horz" pos="179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2 Arrow">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720BBB-4E34-F4AA-898D-F9435E963F64}"/>
              </a:ext>
            </a:extLst>
          </p:cNvPr>
          <p:cNvGraphicFramePr>
            <a:graphicFrameLocks noChangeAspect="1"/>
          </p:cNvGraphicFramePr>
          <p:nvPr userDrawn="1">
            <p:custDataLst>
              <p:tags r:id="rId1"/>
            </p:custDataLst>
            <p:extLst>
              <p:ext uri="{D42A27DB-BD31-4B8C-83A1-F6EECF244321}">
                <p14:modId xmlns:p14="http://schemas.microsoft.com/office/powerpoint/2010/main" val="77160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C5720BBB-4E34-F4AA-898D-F9435E963F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4EA116F1-EEA2-B25E-4E0E-FE22F4EEE40C}"/>
              </a:ext>
            </a:extLst>
          </p:cNvPr>
          <p:cNvSpPr/>
          <p:nvPr userDrawn="1"/>
        </p:nvSpPr>
        <p:spPr>
          <a:xfrm>
            <a:off x="0" y="0"/>
            <a:ext cx="529359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6" name="Pentagon 15">
            <a:extLst>
              <a:ext uri="{FF2B5EF4-FFF2-40B4-BE49-F238E27FC236}">
                <a16:creationId xmlns:a16="http://schemas.microsoft.com/office/drawing/2014/main" id="{4F2FBAE9-7C6A-34B2-684C-5B2D079FA7D0}"/>
              </a:ext>
            </a:extLst>
          </p:cNvPr>
          <p:cNvSpPr/>
          <p:nvPr userDrawn="1"/>
        </p:nvSpPr>
        <p:spPr>
          <a:xfrm>
            <a:off x="4958068" y="0"/>
            <a:ext cx="1633972" cy="685800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9" name="Text Placeholder 7">
            <a:extLst>
              <a:ext uri="{FF2B5EF4-FFF2-40B4-BE49-F238E27FC236}">
                <a16:creationId xmlns:a16="http://schemas.microsoft.com/office/drawing/2014/main" id="{13C608F3-1C5C-E98E-C9F8-508CD1B98B73}"/>
              </a:ext>
            </a:extLst>
          </p:cNvPr>
          <p:cNvSpPr>
            <a:spLocks noGrp="1"/>
          </p:cNvSpPr>
          <p:nvPr>
            <p:ph type="body" sz="quarter" idx="58" hasCustomPrompt="1"/>
          </p:nvPr>
        </p:nvSpPr>
        <p:spPr>
          <a:xfrm>
            <a:off x="6459688" y="493518"/>
            <a:ext cx="5181450" cy="430887"/>
          </a:xfrm>
          <a:prstGeom prst="rect">
            <a:avLst/>
          </a:prstGeom>
          <a:noFill/>
        </p:spPr>
        <p:txBody>
          <a:bodyPr vert="horz" wrap="square" lIns="0" tIns="0" rIns="0" bIns="0" rtlCol="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defTabSz="228600">
              <a:lnSpc>
                <a:spcPct val="100000"/>
              </a:lnSpc>
              <a:spcBef>
                <a:spcPct val="0"/>
              </a:spcBef>
            </a:pPr>
            <a:r>
              <a:rPr lang="en-US"/>
              <a:t>[Optional – Heading]</a:t>
            </a:r>
          </a:p>
        </p:txBody>
      </p:sp>
      <p:sp>
        <p:nvSpPr>
          <p:cNvPr id="24" name="Graphic 8">
            <a:extLst>
              <a:ext uri="{FF2B5EF4-FFF2-40B4-BE49-F238E27FC236}">
                <a16:creationId xmlns:a16="http://schemas.microsoft.com/office/drawing/2014/main" id="{8E4C8C85-B39A-9E2C-57FD-CDB423215924}"/>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5" name="Text Placeholder 2">
            <a:extLst>
              <a:ext uri="{FF2B5EF4-FFF2-40B4-BE49-F238E27FC236}">
                <a16:creationId xmlns:a16="http://schemas.microsoft.com/office/drawing/2014/main" id="{0423BB98-C29A-A38B-0AEC-E87A7048760C}"/>
              </a:ext>
            </a:extLst>
          </p:cNvPr>
          <p:cNvSpPr>
            <a:spLocks noGrp="1"/>
          </p:cNvSpPr>
          <p:nvPr>
            <p:ph type="body" sz="quarter" idx="18" hasCustomPrompt="1"/>
          </p:nvPr>
        </p:nvSpPr>
        <p:spPr>
          <a:xfrm>
            <a:off x="1117902" y="6493073"/>
            <a:ext cx="4538798"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26" name="Text Placeholder 2">
            <a:extLst>
              <a:ext uri="{FF2B5EF4-FFF2-40B4-BE49-F238E27FC236}">
                <a16:creationId xmlns:a16="http://schemas.microsoft.com/office/drawing/2014/main" id="{3F772936-DB4C-3131-E275-F907CAA94075}"/>
              </a:ext>
            </a:extLst>
          </p:cNvPr>
          <p:cNvSpPr>
            <a:spLocks noGrp="1"/>
          </p:cNvSpPr>
          <p:nvPr>
            <p:ph type="body" sz="quarter" idx="19" hasCustomPrompt="1"/>
          </p:nvPr>
        </p:nvSpPr>
        <p:spPr>
          <a:xfrm>
            <a:off x="1117902" y="6623050"/>
            <a:ext cx="4538798"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29" name="TextBox 28">
            <a:extLst>
              <a:ext uri="{FF2B5EF4-FFF2-40B4-BE49-F238E27FC236}">
                <a16:creationId xmlns:a16="http://schemas.microsoft.com/office/drawing/2014/main" id="{23CF51AB-E6AA-56F7-4E25-39D554C3C1AD}"/>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30" name="TextBox 29">
            <a:extLst>
              <a:ext uri="{FF2B5EF4-FFF2-40B4-BE49-F238E27FC236}">
                <a16:creationId xmlns:a16="http://schemas.microsoft.com/office/drawing/2014/main" id="{41B61D45-97A4-A26C-B3A4-C53D6DB45FC8}"/>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6" name="Text Placeholder 18">
            <a:extLst>
              <a:ext uri="{FF2B5EF4-FFF2-40B4-BE49-F238E27FC236}">
                <a16:creationId xmlns:a16="http://schemas.microsoft.com/office/drawing/2014/main" id="{ED927293-E701-B0EA-5855-EAEDB55ECDC0}"/>
              </a:ext>
            </a:extLst>
          </p:cNvPr>
          <p:cNvSpPr>
            <a:spLocks noGrp="1"/>
          </p:cNvSpPr>
          <p:nvPr>
            <p:ph type="body" sz="quarter" idx="21" hasCustomPrompt="1"/>
          </p:nvPr>
        </p:nvSpPr>
        <p:spPr>
          <a:xfrm>
            <a:off x="552450" y="127228"/>
            <a:ext cx="2814638" cy="153888"/>
          </a:xfrm>
          <a:prstGeom prst="rect">
            <a:avLst/>
          </a:prstGeom>
        </p:spPr>
        <p:txBody>
          <a:bodyPr lIns="0" tIns="0" rIns="0" bIns="0">
            <a:spAutoFit/>
          </a:bodyPr>
          <a:lstStyle>
            <a:lvl1pPr rtl="0">
              <a:lnSpc>
                <a:spcPct val="100000"/>
              </a:lnSpc>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a:t>Section</a:t>
            </a:r>
          </a:p>
        </p:txBody>
      </p:sp>
      <p:sp>
        <p:nvSpPr>
          <p:cNvPr id="3" name="Title 10">
            <a:extLst>
              <a:ext uri="{FF2B5EF4-FFF2-40B4-BE49-F238E27FC236}">
                <a16:creationId xmlns:a16="http://schemas.microsoft.com/office/drawing/2014/main" id="{900CC3AC-FCE4-88C2-B43B-D15DFCFDB403}"/>
              </a:ext>
            </a:extLst>
          </p:cNvPr>
          <p:cNvSpPr>
            <a:spLocks noGrp="1"/>
          </p:cNvSpPr>
          <p:nvPr>
            <p:ph type="title" hasCustomPrompt="1"/>
          </p:nvPr>
        </p:nvSpPr>
        <p:spPr>
          <a:xfrm>
            <a:off x="552450" y="493518"/>
            <a:ext cx="5091550"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defTabSz="228600"/>
            <a:r>
              <a:rPr lang="en-US"/>
              <a:t>Slide Title</a:t>
            </a:r>
          </a:p>
        </p:txBody>
      </p:sp>
    </p:spTree>
    <p:extLst>
      <p:ext uri="{BB962C8B-B14F-4D97-AF65-F5344CB8AC3E}">
        <p14:creationId xmlns:p14="http://schemas.microsoft.com/office/powerpoint/2010/main" val="2806446103"/>
      </p:ext>
    </p:extLst>
  </p:cSld>
  <p:clrMapOvr>
    <a:masterClrMapping/>
  </p:clrMapOvr>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3 Arrow">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EE1FF4-E715-E718-120D-C0B715A998FD}"/>
              </a:ext>
            </a:extLst>
          </p:cNvPr>
          <p:cNvGraphicFramePr>
            <a:graphicFrameLocks noChangeAspect="1"/>
          </p:cNvGraphicFramePr>
          <p:nvPr userDrawn="1">
            <p:custDataLst>
              <p:tags r:id="rId1"/>
            </p:custDataLst>
            <p:extLst>
              <p:ext uri="{D42A27DB-BD31-4B8C-83A1-F6EECF244321}">
                <p14:modId xmlns:p14="http://schemas.microsoft.com/office/powerpoint/2010/main" val="1324955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80EE1FF4-E715-E718-120D-C0B715A998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entagon 3">
            <a:extLst>
              <a:ext uri="{FF2B5EF4-FFF2-40B4-BE49-F238E27FC236}">
                <a16:creationId xmlns:a16="http://schemas.microsoft.com/office/drawing/2014/main" id="{AEB11C26-AF62-5AE3-D407-1E7944087829}"/>
              </a:ext>
            </a:extLst>
          </p:cNvPr>
          <p:cNvSpPr/>
          <p:nvPr userDrawn="1"/>
        </p:nvSpPr>
        <p:spPr>
          <a:xfrm>
            <a:off x="6475825" y="0"/>
            <a:ext cx="1633972" cy="685800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AFB114ED-2994-FFD4-196F-6B754F48C4B1}"/>
              </a:ext>
            </a:extLst>
          </p:cNvPr>
          <p:cNvSpPr/>
          <p:nvPr userDrawn="1"/>
        </p:nvSpPr>
        <p:spPr>
          <a:xfrm>
            <a:off x="0" y="0"/>
            <a:ext cx="697083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7" name="Pentagon 16">
            <a:extLst>
              <a:ext uri="{FF2B5EF4-FFF2-40B4-BE49-F238E27FC236}">
                <a16:creationId xmlns:a16="http://schemas.microsoft.com/office/drawing/2014/main" id="{2254B9DB-C167-2C6A-742C-05B348B72709}"/>
              </a:ext>
            </a:extLst>
          </p:cNvPr>
          <p:cNvSpPr/>
          <p:nvPr userDrawn="1"/>
        </p:nvSpPr>
        <p:spPr>
          <a:xfrm>
            <a:off x="6472751" y="0"/>
            <a:ext cx="1633972" cy="685800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 name="Title 10">
            <a:extLst>
              <a:ext uri="{FF2B5EF4-FFF2-40B4-BE49-F238E27FC236}">
                <a16:creationId xmlns:a16="http://schemas.microsoft.com/office/drawing/2014/main" id="{9BEE212B-D9BC-DC34-75FC-FAC60CE49AE2}"/>
              </a:ext>
            </a:extLst>
          </p:cNvPr>
          <p:cNvSpPr>
            <a:spLocks noGrp="1"/>
          </p:cNvSpPr>
          <p:nvPr>
            <p:ph type="title" hasCustomPrompt="1"/>
          </p:nvPr>
        </p:nvSpPr>
        <p:spPr>
          <a:xfrm>
            <a:off x="552450" y="493518"/>
            <a:ext cx="6622026"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indent="0" defTabSz="228600">
              <a:buFont typeface="Arial" panose="020B0604020202020204" pitchFamily="34" charset="0"/>
            </a:pPr>
            <a:r>
              <a:rPr lang="en-US"/>
              <a:t>Slide Title</a:t>
            </a:r>
          </a:p>
        </p:txBody>
      </p:sp>
      <p:sp>
        <p:nvSpPr>
          <p:cNvPr id="14" name="Text Placeholder 13">
            <a:extLst>
              <a:ext uri="{FF2B5EF4-FFF2-40B4-BE49-F238E27FC236}">
                <a16:creationId xmlns:a16="http://schemas.microsoft.com/office/drawing/2014/main" id="{5561F43E-3F97-9754-6DF1-51575097C611}"/>
              </a:ext>
            </a:extLst>
          </p:cNvPr>
          <p:cNvSpPr>
            <a:spLocks noGrp="1"/>
          </p:cNvSpPr>
          <p:nvPr>
            <p:ph type="body" sz="quarter" idx="58" hasCustomPrompt="1"/>
          </p:nvPr>
        </p:nvSpPr>
        <p:spPr>
          <a:xfrm>
            <a:off x="8554720" y="493518"/>
            <a:ext cx="3048469" cy="430887"/>
          </a:xfrm>
          <a:prstGeom prst="rect">
            <a:avLst/>
          </a:prstGeom>
          <a:noFill/>
        </p:spPr>
        <p:txBody>
          <a:bodyPr vert="horz" wrap="square" lIns="0" tIns="0" rIns="0" bIns="0" rtlCol="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defTabSz="228600">
              <a:lnSpc>
                <a:spcPct val="100000"/>
              </a:lnSpc>
              <a:spcBef>
                <a:spcPct val="0"/>
              </a:spcBef>
            </a:pPr>
            <a:r>
              <a:rPr lang="en-US"/>
              <a:t>Conclusion</a:t>
            </a:r>
          </a:p>
        </p:txBody>
      </p:sp>
      <p:sp>
        <p:nvSpPr>
          <p:cNvPr id="7" name="Graphic 8">
            <a:extLst>
              <a:ext uri="{FF2B5EF4-FFF2-40B4-BE49-F238E27FC236}">
                <a16:creationId xmlns:a16="http://schemas.microsoft.com/office/drawing/2014/main" id="{CDDE3199-9642-F2BE-8BEB-A55CF6DE9744}"/>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9BA42084-A64A-38BE-F1DF-4CC693EF28BA}"/>
              </a:ext>
            </a:extLst>
          </p:cNvPr>
          <p:cNvSpPr>
            <a:spLocks noGrp="1"/>
          </p:cNvSpPr>
          <p:nvPr>
            <p:ph type="body" sz="quarter" idx="18" hasCustomPrompt="1"/>
          </p:nvPr>
        </p:nvSpPr>
        <p:spPr>
          <a:xfrm>
            <a:off x="1117902" y="6493073"/>
            <a:ext cx="5949374"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11" name="Text Placeholder 2">
            <a:extLst>
              <a:ext uri="{FF2B5EF4-FFF2-40B4-BE49-F238E27FC236}">
                <a16:creationId xmlns:a16="http://schemas.microsoft.com/office/drawing/2014/main" id="{E56C3754-920F-A984-F3DE-5096F37EE47E}"/>
              </a:ext>
            </a:extLst>
          </p:cNvPr>
          <p:cNvSpPr>
            <a:spLocks noGrp="1"/>
          </p:cNvSpPr>
          <p:nvPr>
            <p:ph type="body" sz="quarter" idx="19" hasCustomPrompt="1"/>
          </p:nvPr>
        </p:nvSpPr>
        <p:spPr>
          <a:xfrm>
            <a:off x="1117902" y="6623050"/>
            <a:ext cx="5949374"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30" name="TextBox 29">
            <a:extLst>
              <a:ext uri="{FF2B5EF4-FFF2-40B4-BE49-F238E27FC236}">
                <a16:creationId xmlns:a16="http://schemas.microsoft.com/office/drawing/2014/main" id="{55F46690-6C5D-858D-0CB8-A44EAD3C5B83}"/>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31" name="TextBox 30">
            <a:extLst>
              <a:ext uri="{FF2B5EF4-FFF2-40B4-BE49-F238E27FC236}">
                <a16:creationId xmlns:a16="http://schemas.microsoft.com/office/drawing/2014/main" id="{23E7FC8E-DCCF-5AF1-8DCE-C15A4B716D80}"/>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8" name="Text Placeholder 18">
            <a:extLst>
              <a:ext uri="{FF2B5EF4-FFF2-40B4-BE49-F238E27FC236}">
                <a16:creationId xmlns:a16="http://schemas.microsoft.com/office/drawing/2014/main" id="{9698F311-61F0-5B63-2FD0-3A3EB3EBEECB}"/>
              </a:ext>
            </a:extLst>
          </p:cNvPr>
          <p:cNvSpPr>
            <a:spLocks noGrp="1"/>
          </p:cNvSpPr>
          <p:nvPr>
            <p:ph type="body" sz="quarter" idx="21" hasCustomPrompt="1"/>
          </p:nvPr>
        </p:nvSpPr>
        <p:spPr>
          <a:xfrm>
            <a:off x="552450" y="127228"/>
            <a:ext cx="2814638" cy="153888"/>
          </a:xfrm>
          <a:prstGeom prst="rect">
            <a:avLst/>
          </a:prstGeom>
        </p:spPr>
        <p:txBody>
          <a:bodyPr lIns="0" tIns="0" rIns="0" bIns="0">
            <a:spAutoFit/>
          </a:bodyPr>
          <a:lstStyle>
            <a:lvl1pPr rtl="0">
              <a:lnSpc>
                <a:spcPct val="100000"/>
              </a:lnSpc>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a:t>Section</a:t>
            </a:r>
          </a:p>
        </p:txBody>
      </p:sp>
    </p:spTree>
    <p:extLst>
      <p:ext uri="{BB962C8B-B14F-4D97-AF65-F5344CB8AC3E}">
        <p14:creationId xmlns:p14="http://schemas.microsoft.com/office/powerpoint/2010/main" val="492416555"/>
      </p:ext>
    </p:extLst>
  </p:cSld>
  <p:clrMapOvr>
    <a:masterClrMapping/>
  </p:clrMapOvr>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B9401F-2EB1-9C2D-8A61-0732AC01B5F4}"/>
              </a:ext>
            </a:extLst>
          </p:cNvPr>
          <p:cNvGraphicFramePr>
            <a:graphicFrameLocks noChangeAspect="1"/>
          </p:cNvGraphicFramePr>
          <p:nvPr userDrawn="1">
            <p:custDataLst>
              <p:tags r:id="rId1"/>
            </p:custDataLst>
            <p:extLst>
              <p:ext uri="{D42A27DB-BD31-4B8C-83A1-F6EECF244321}">
                <p14:modId xmlns:p14="http://schemas.microsoft.com/office/powerpoint/2010/main" val="175710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05B9401F-2EB1-9C2D-8A61-0732AC01B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9F29327-316B-62D7-6BC9-27DE9F0BB32E}"/>
              </a:ext>
            </a:extLst>
          </p:cNvPr>
          <p:cNvSpPr/>
          <p:nvPr userDrawn="1"/>
        </p:nvSpPr>
        <p:spPr>
          <a:xfrm>
            <a:off x="4169187" y="0"/>
            <a:ext cx="8024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4" name="Title 10">
            <a:extLst>
              <a:ext uri="{FF2B5EF4-FFF2-40B4-BE49-F238E27FC236}">
                <a16:creationId xmlns:a16="http://schemas.microsoft.com/office/drawing/2014/main" id="{329DDC34-AF04-A7F1-8193-CE02807BEC6C}"/>
              </a:ext>
            </a:extLst>
          </p:cNvPr>
          <p:cNvSpPr>
            <a:spLocks noGrp="1"/>
          </p:cNvSpPr>
          <p:nvPr>
            <p:ph type="title" hasCustomPrompt="1"/>
          </p:nvPr>
        </p:nvSpPr>
        <p:spPr>
          <a:xfrm>
            <a:off x="552450" y="493518"/>
            <a:ext cx="3351904"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indent="0" defTabSz="228600">
              <a:buFont typeface="Arial" panose="020B0604020202020204" pitchFamily="34" charset="0"/>
            </a:pPr>
            <a:r>
              <a:rPr lang="en-US"/>
              <a:t>Slide Title</a:t>
            </a:r>
          </a:p>
        </p:txBody>
      </p:sp>
      <p:sp>
        <p:nvSpPr>
          <p:cNvPr id="7" name="Text Placeholder 2">
            <a:extLst>
              <a:ext uri="{FF2B5EF4-FFF2-40B4-BE49-F238E27FC236}">
                <a16:creationId xmlns:a16="http://schemas.microsoft.com/office/drawing/2014/main" id="{3BCC6B31-6134-1F64-BAB5-7FE60512C2CF}"/>
              </a:ext>
            </a:extLst>
          </p:cNvPr>
          <p:cNvSpPr>
            <a:spLocks noGrp="1"/>
          </p:cNvSpPr>
          <p:nvPr>
            <p:ph type="body" sz="quarter" idx="18" hasCustomPrompt="1"/>
          </p:nvPr>
        </p:nvSpPr>
        <p:spPr>
          <a:xfrm>
            <a:off x="4421321" y="6493073"/>
            <a:ext cx="5900876"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9" name="Text Placeholder 2">
            <a:extLst>
              <a:ext uri="{FF2B5EF4-FFF2-40B4-BE49-F238E27FC236}">
                <a16:creationId xmlns:a16="http://schemas.microsoft.com/office/drawing/2014/main" id="{F0F3FA72-5490-2DB2-C8C8-3AD2E5B50726}"/>
              </a:ext>
            </a:extLst>
          </p:cNvPr>
          <p:cNvSpPr>
            <a:spLocks noGrp="1"/>
          </p:cNvSpPr>
          <p:nvPr>
            <p:ph type="body" sz="quarter" idx="19" hasCustomPrompt="1"/>
          </p:nvPr>
        </p:nvSpPr>
        <p:spPr>
          <a:xfrm>
            <a:off x="4421321" y="6623050"/>
            <a:ext cx="5900876"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2" name="Text Placeholder 7">
            <a:extLst>
              <a:ext uri="{FF2B5EF4-FFF2-40B4-BE49-F238E27FC236}">
                <a16:creationId xmlns:a16="http://schemas.microsoft.com/office/drawing/2014/main" id="{26026D6E-8D24-8390-AE0C-1754DF0AAC68}"/>
              </a:ext>
            </a:extLst>
          </p:cNvPr>
          <p:cNvSpPr>
            <a:spLocks noGrp="1"/>
          </p:cNvSpPr>
          <p:nvPr>
            <p:ph type="body" sz="quarter" idx="57" hasCustomPrompt="1"/>
          </p:nvPr>
        </p:nvSpPr>
        <p:spPr>
          <a:xfrm>
            <a:off x="4421320" y="493519"/>
            <a:ext cx="7219817" cy="430887"/>
          </a:xfrm>
          <a:prstGeom prst="rect">
            <a:avLst/>
          </a:prstGeom>
          <a:noFill/>
        </p:spPr>
        <p:txBody>
          <a:bodyPr vert="horz" wrap="square" lIns="0" tIns="0" rIns="0" bIns="0" rtlCol="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defTabSz="228600">
              <a:lnSpc>
                <a:spcPct val="100000"/>
              </a:lnSpc>
              <a:spcBef>
                <a:spcPct val="0"/>
              </a:spcBef>
            </a:pPr>
            <a:r>
              <a:rPr lang="en-US"/>
              <a:t>[Optional – Heading]</a:t>
            </a:r>
          </a:p>
        </p:txBody>
      </p:sp>
      <p:sp>
        <p:nvSpPr>
          <p:cNvPr id="8" name="Graphic 8">
            <a:extLst>
              <a:ext uri="{FF2B5EF4-FFF2-40B4-BE49-F238E27FC236}">
                <a16:creationId xmlns:a16="http://schemas.microsoft.com/office/drawing/2014/main" id="{5B9EC013-9E0B-6AAB-312D-D6B50707E7B5}"/>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7" name="TextBox 16">
            <a:extLst>
              <a:ext uri="{FF2B5EF4-FFF2-40B4-BE49-F238E27FC236}">
                <a16:creationId xmlns:a16="http://schemas.microsoft.com/office/drawing/2014/main" id="{D5BBBAEA-9A0F-DD71-FAB1-452876719858}"/>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9" name="TextBox 18">
            <a:extLst>
              <a:ext uri="{FF2B5EF4-FFF2-40B4-BE49-F238E27FC236}">
                <a16:creationId xmlns:a16="http://schemas.microsoft.com/office/drawing/2014/main" id="{B16F23D1-DE9F-D038-B2EA-E7A239DBA0A1}"/>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0" name="Text Placeholder 18">
            <a:extLst>
              <a:ext uri="{FF2B5EF4-FFF2-40B4-BE49-F238E27FC236}">
                <a16:creationId xmlns:a16="http://schemas.microsoft.com/office/drawing/2014/main" id="{2EF16DB3-993A-0A34-6D8D-622EBA47AA9D}"/>
              </a:ext>
            </a:extLst>
          </p:cNvPr>
          <p:cNvSpPr>
            <a:spLocks noGrp="1"/>
          </p:cNvSpPr>
          <p:nvPr>
            <p:ph type="body" sz="quarter" idx="21" hasCustomPrompt="1"/>
          </p:nvPr>
        </p:nvSpPr>
        <p:spPr>
          <a:xfrm>
            <a:off x="552450" y="127228"/>
            <a:ext cx="2905077" cy="153888"/>
          </a:xfrm>
          <a:prstGeom prst="rect">
            <a:avLst/>
          </a:prstGeom>
        </p:spPr>
        <p:txBody>
          <a:bodyPr wrap="square" lIns="0" tIns="0" rIns="0" bIns="0">
            <a:spAutoFit/>
          </a:bodyPr>
          <a:lstStyle>
            <a:lvl1pPr>
              <a:defRPr lang="en-US" sz="10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pPr>
            <a:r>
              <a:rPr lang="en-US"/>
              <a:t>Section</a:t>
            </a:r>
          </a:p>
        </p:txBody>
      </p:sp>
    </p:spTree>
    <p:extLst>
      <p:ext uri="{BB962C8B-B14F-4D97-AF65-F5344CB8AC3E}">
        <p14:creationId xmlns:p14="http://schemas.microsoft.com/office/powerpoint/2010/main" val="1677308089"/>
      </p:ext>
    </p:extLst>
  </p:cSld>
  <p:clrMapOvr>
    <a:masterClrMapping/>
  </p:clrMapOvr>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18ED3EE-BDAF-380D-3DBB-4AD1EC26110A}"/>
              </a:ext>
            </a:extLst>
          </p:cNvPr>
          <p:cNvGraphicFramePr>
            <a:graphicFrameLocks noChangeAspect="1"/>
          </p:cNvGraphicFramePr>
          <p:nvPr userDrawn="1">
            <p:custDataLst>
              <p:tags r:id="rId1"/>
            </p:custDataLst>
            <p:extLst>
              <p:ext uri="{D42A27DB-BD31-4B8C-83A1-F6EECF244321}">
                <p14:modId xmlns:p14="http://schemas.microsoft.com/office/powerpoint/2010/main" val="215165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218ED3EE-BDAF-380D-3DBB-4AD1EC2611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E743E451-1D45-7D82-22E4-DA7736947C5F}"/>
              </a:ext>
            </a:extLst>
          </p:cNvPr>
          <p:cNvSpPr/>
          <p:nvPr userDrawn="1"/>
        </p:nvSpPr>
        <p:spPr>
          <a:xfrm>
            <a:off x="6096794" y="0"/>
            <a:ext cx="60967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 name="Text Placeholder 7">
            <a:extLst>
              <a:ext uri="{FF2B5EF4-FFF2-40B4-BE49-F238E27FC236}">
                <a16:creationId xmlns:a16="http://schemas.microsoft.com/office/drawing/2014/main" id="{B1954C7E-1630-DDFE-A84E-561541196631}"/>
              </a:ext>
            </a:extLst>
          </p:cNvPr>
          <p:cNvSpPr>
            <a:spLocks noGrp="1"/>
          </p:cNvSpPr>
          <p:nvPr>
            <p:ph type="body" sz="quarter" idx="57" hasCustomPrompt="1"/>
          </p:nvPr>
        </p:nvSpPr>
        <p:spPr>
          <a:xfrm>
            <a:off x="6348413" y="493519"/>
            <a:ext cx="5292725" cy="430887"/>
          </a:xfrm>
          <a:prstGeom prst="rect">
            <a:avLst/>
          </a:prstGeom>
          <a:noFill/>
        </p:spPr>
        <p:txBody>
          <a:bodyPr vert="horz" wrap="square" lIns="0" tIns="0" rIns="0" bIns="0" rtlCol="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defTabSz="228600">
              <a:lnSpc>
                <a:spcPct val="100000"/>
              </a:lnSpc>
              <a:spcBef>
                <a:spcPct val="0"/>
              </a:spcBef>
            </a:pPr>
            <a:r>
              <a:rPr lang="en-US"/>
              <a:t>[Optional – Heading]</a:t>
            </a:r>
          </a:p>
        </p:txBody>
      </p:sp>
      <p:sp>
        <p:nvSpPr>
          <p:cNvPr id="6" name="Graphic 8">
            <a:extLst>
              <a:ext uri="{FF2B5EF4-FFF2-40B4-BE49-F238E27FC236}">
                <a16:creationId xmlns:a16="http://schemas.microsoft.com/office/drawing/2014/main" id="{D50DD136-589D-6239-443A-5715D4F49DB1}"/>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0" name="TextBox 9">
            <a:extLst>
              <a:ext uri="{FF2B5EF4-FFF2-40B4-BE49-F238E27FC236}">
                <a16:creationId xmlns:a16="http://schemas.microsoft.com/office/drawing/2014/main" id="{172D0FF7-9F22-B683-F01A-B5214ED5A90C}"/>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1" name="TextBox 10">
            <a:extLst>
              <a:ext uri="{FF2B5EF4-FFF2-40B4-BE49-F238E27FC236}">
                <a16:creationId xmlns:a16="http://schemas.microsoft.com/office/drawing/2014/main" id="{430247A3-16B8-2EE8-90A1-E1396BFC5D1D}"/>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4" name="Text Placeholder 18">
            <a:extLst>
              <a:ext uri="{FF2B5EF4-FFF2-40B4-BE49-F238E27FC236}">
                <a16:creationId xmlns:a16="http://schemas.microsoft.com/office/drawing/2014/main" id="{E60BCA4B-6556-94ED-4D9E-D945E64B5141}"/>
              </a:ext>
            </a:extLst>
          </p:cNvPr>
          <p:cNvSpPr>
            <a:spLocks noGrp="1"/>
          </p:cNvSpPr>
          <p:nvPr>
            <p:ph type="body" sz="quarter" idx="21" hasCustomPrompt="1"/>
          </p:nvPr>
        </p:nvSpPr>
        <p:spPr>
          <a:xfrm>
            <a:off x="552450" y="127228"/>
            <a:ext cx="2814638" cy="153888"/>
          </a:xfrm>
          <a:prstGeom prst="rect">
            <a:avLst/>
          </a:prstGeom>
        </p:spPr>
        <p:txBody>
          <a:bodyPr wrap="square" lIns="0" tIns="0" rIns="0" bIns="0">
            <a:spAutoFit/>
          </a:bodyPr>
          <a:lstStyle>
            <a:lvl1pPr>
              <a:defRPr lang="en-US" sz="10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pPr>
            <a:r>
              <a:rPr lang="en-US"/>
              <a:t>Section</a:t>
            </a:r>
          </a:p>
        </p:txBody>
      </p:sp>
      <p:sp>
        <p:nvSpPr>
          <p:cNvPr id="15" name="Text Placeholder 2">
            <a:extLst>
              <a:ext uri="{FF2B5EF4-FFF2-40B4-BE49-F238E27FC236}">
                <a16:creationId xmlns:a16="http://schemas.microsoft.com/office/drawing/2014/main" id="{EC6E5EF8-0C61-A12B-8A91-91857A3136EB}"/>
              </a:ext>
            </a:extLst>
          </p:cNvPr>
          <p:cNvSpPr>
            <a:spLocks noGrp="1"/>
          </p:cNvSpPr>
          <p:nvPr>
            <p:ph type="body" sz="quarter" idx="18" hasCustomPrompt="1"/>
          </p:nvPr>
        </p:nvSpPr>
        <p:spPr>
          <a:xfrm>
            <a:off x="6348413" y="6493073"/>
            <a:ext cx="4156569"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20" name="Text Placeholder 2">
            <a:extLst>
              <a:ext uri="{FF2B5EF4-FFF2-40B4-BE49-F238E27FC236}">
                <a16:creationId xmlns:a16="http://schemas.microsoft.com/office/drawing/2014/main" id="{DA82B124-9ADB-2DBA-5E21-E7990B2C7F50}"/>
              </a:ext>
            </a:extLst>
          </p:cNvPr>
          <p:cNvSpPr>
            <a:spLocks noGrp="1"/>
          </p:cNvSpPr>
          <p:nvPr>
            <p:ph type="body" sz="quarter" idx="19" hasCustomPrompt="1"/>
          </p:nvPr>
        </p:nvSpPr>
        <p:spPr>
          <a:xfrm>
            <a:off x="6348413" y="6623050"/>
            <a:ext cx="4156569"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5" name="Title 10">
            <a:extLst>
              <a:ext uri="{FF2B5EF4-FFF2-40B4-BE49-F238E27FC236}">
                <a16:creationId xmlns:a16="http://schemas.microsoft.com/office/drawing/2014/main" id="{406533C5-A7F4-355A-F133-41B2C81FD1A1}"/>
              </a:ext>
            </a:extLst>
          </p:cNvPr>
          <p:cNvSpPr>
            <a:spLocks noGrp="1"/>
          </p:cNvSpPr>
          <p:nvPr>
            <p:ph type="title" hasCustomPrompt="1"/>
          </p:nvPr>
        </p:nvSpPr>
        <p:spPr>
          <a:xfrm>
            <a:off x="552450" y="493518"/>
            <a:ext cx="5270111"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indent="0" defTabSz="228600">
              <a:buFont typeface="Arial" panose="020B0604020202020204" pitchFamily="34" charset="0"/>
            </a:pPr>
            <a:r>
              <a:rPr lang="en-US"/>
              <a:t>Slide Title</a:t>
            </a:r>
          </a:p>
        </p:txBody>
      </p:sp>
    </p:spTree>
    <p:extLst>
      <p:ext uri="{BB962C8B-B14F-4D97-AF65-F5344CB8AC3E}">
        <p14:creationId xmlns:p14="http://schemas.microsoft.com/office/powerpoint/2010/main" val="2432439706"/>
      </p:ext>
    </p:extLst>
  </p:cSld>
  <p:clrMapOvr>
    <a:masterClrMapping/>
  </p:clrMapOvr>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ark image cover slide">
    <p:bg>
      <p:bgPr>
        <a:solidFill>
          <a:schemeClr val="accent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381119C-646E-27FB-4978-EB720297A8F4}"/>
              </a:ext>
            </a:extLst>
          </p:cNvPr>
          <p:cNvGraphicFramePr>
            <a:graphicFrameLocks noChangeAspect="1"/>
          </p:cNvGraphicFramePr>
          <p:nvPr userDrawn="1">
            <p:custDataLst>
              <p:tags r:id="rId1"/>
            </p:custDataLst>
            <p:extLst>
              <p:ext uri="{D42A27DB-BD31-4B8C-83A1-F6EECF244321}">
                <p14:modId xmlns:p14="http://schemas.microsoft.com/office/powerpoint/2010/main" val="2943660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1" name="think-cell data - do not delete" hidden="1">
                        <a:extLst>
                          <a:ext uri="{FF2B5EF4-FFF2-40B4-BE49-F238E27FC236}">
                            <a16:creationId xmlns:a16="http://schemas.microsoft.com/office/drawing/2014/main" id="{7381119C-646E-27FB-4978-EB720297A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raphic 43">
            <a:extLst>
              <a:ext uri="{FF2B5EF4-FFF2-40B4-BE49-F238E27FC236}">
                <a16:creationId xmlns:a16="http://schemas.microsoft.com/office/drawing/2014/main" id="{54B9D043-F579-845F-11A0-2C52ABB0330E}"/>
              </a:ext>
            </a:extLst>
          </p:cNvPr>
          <p:cNvSpPr>
            <a:spLocks noChangeAspect="1"/>
          </p:cNvSpPr>
          <p:nvPr userDrawn="1"/>
        </p:nvSpPr>
        <p:spPr>
          <a:xfrm>
            <a:off x="339851" y="6228000"/>
            <a:ext cx="1440000" cy="396112"/>
          </a:xfrm>
          <a:custGeom>
            <a:avLst/>
            <a:gdLst>
              <a:gd name="connsiteX0" fmla="*/ 219924 w 2610377"/>
              <a:gd name="connsiteY0" fmla="*/ 234161 h 717496"/>
              <a:gd name="connsiteX1" fmla="*/ 308677 w 2610377"/>
              <a:gd name="connsiteY1" fmla="*/ 120016 h 717496"/>
              <a:gd name="connsiteX2" fmla="*/ 173590 w 2610377"/>
              <a:gd name="connsiteY2" fmla="*/ 0 h 717496"/>
              <a:gd name="connsiteX3" fmla="*/ 653 w 2610377"/>
              <a:gd name="connsiteY3" fmla="*/ 0 h 717496"/>
              <a:gd name="connsiteX4" fmla="*/ 653 w 2610377"/>
              <a:gd name="connsiteY4" fmla="*/ 404401 h 717496"/>
              <a:gd name="connsiteX5" fmla="*/ 49597 w 2610377"/>
              <a:gd name="connsiteY5" fmla="*/ 404401 h 717496"/>
              <a:gd name="connsiteX6" fmla="*/ 49597 w 2610377"/>
              <a:gd name="connsiteY6" fmla="*/ 240032 h 717496"/>
              <a:gd name="connsiteX7" fmla="*/ 167064 w 2610377"/>
              <a:gd name="connsiteY7" fmla="*/ 240032 h 717496"/>
              <a:gd name="connsiteX8" fmla="*/ 262343 w 2610377"/>
              <a:gd name="connsiteY8" fmla="*/ 404401 h 717496"/>
              <a:gd name="connsiteX9" fmla="*/ 320424 w 2610377"/>
              <a:gd name="connsiteY9" fmla="*/ 404401 h 717496"/>
              <a:gd name="connsiteX10" fmla="*/ 219924 w 2610377"/>
              <a:gd name="connsiteY10" fmla="*/ 234161 h 717496"/>
              <a:gd name="connsiteX11" fmla="*/ 49597 w 2610377"/>
              <a:gd name="connsiteY11" fmla="*/ 196330 h 717496"/>
              <a:gd name="connsiteX12" fmla="*/ 49597 w 2610377"/>
              <a:gd name="connsiteY12" fmla="*/ 45006 h 717496"/>
              <a:gd name="connsiteX13" fmla="*/ 170980 w 2610377"/>
              <a:gd name="connsiteY13" fmla="*/ 45006 h 717496"/>
              <a:gd name="connsiteX14" fmla="*/ 256470 w 2610377"/>
              <a:gd name="connsiteY14" fmla="*/ 120668 h 717496"/>
              <a:gd name="connsiteX15" fmla="*/ 170980 w 2610377"/>
              <a:gd name="connsiteY15" fmla="*/ 196983 h 717496"/>
              <a:gd name="connsiteX16" fmla="*/ 49597 w 2610377"/>
              <a:gd name="connsiteY16" fmla="*/ 196983 h 717496"/>
              <a:gd name="connsiteX17" fmla="*/ 1414825 w 2610377"/>
              <a:gd name="connsiteY17" fmla="*/ 652 h 717496"/>
              <a:gd name="connsiteX18" fmla="*/ 1465075 w 2610377"/>
              <a:gd name="connsiteY18" fmla="*/ 652 h 717496"/>
              <a:gd name="connsiteX19" fmla="*/ 1344997 w 2610377"/>
              <a:gd name="connsiteY19" fmla="*/ 405054 h 717496"/>
              <a:gd name="connsiteX20" fmla="*/ 1273212 w 2610377"/>
              <a:gd name="connsiteY20" fmla="*/ 405054 h 717496"/>
              <a:gd name="connsiteX21" fmla="*/ 1172712 w 2610377"/>
              <a:gd name="connsiteY21" fmla="*/ 75662 h 717496"/>
              <a:gd name="connsiteX22" fmla="*/ 1072213 w 2610377"/>
              <a:gd name="connsiteY22" fmla="*/ 405054 h 717496"/>
              <a:gd name="connsiteX23" fmla="*/ 1000427 w 2610377"/>
              <a:gd name="connsiteY23" fmla="*/ 405054 h 717496"/>
              <a:gd name="connsiteX24" fmla="*/ 880350 w 2610377"/>
              <a:gd name="connsiteY24" fmla="*/ 652 h 717496"/>
              <a:gd name="connsiteX25" fmla="*/ 930600 w 2610377"/>
              <a:gd name="connsiteY25" fmla="*/ 652 h 717496"/>
              <a:gd name="connsiteX26" fmla="*/ 1036973 w 2610377"/>
              <a:gd name="connsiteY26" fmla="*/ 354830 h 717496"/>
              <a:gd name="connsiteX27" fmla="*/ 1146609 w 2610377"/>
              <a:gd name="connsiteY27" fmla="*/ 3914 h 717496"/>
              <a:gd name="connsiteX28" fmla="*/ 1198816 w 2610377"/>
              <a:gd name="connsiteY28" fmla="*/ 3914 h 717496"/>
              <a:gd name="connsiteX29" fmla="*/ 1308452 w 2610377"/>
              <a:gd name="connsiteY29" fmla="*/ 354830 h 717496"/>
              <a:gd name="connsiteX30" fmla="*/ 1414825 w 2610377"/>
              <a:gd name="connsiteY30" fmla="*/ 652 h 717496"/>
              <a:gd name="connsiteX31" fmla="*/ 1621697 w 2610377"/>
              <a:gd name="connsiteY31" fmla="*/ 652 h 717496"/>
              <a:gd name="connsiteX32" fmla="*/ 1670642 w 2610377"/>
              <a:gd name="connsiteY32" fmla="*/ 652 h 717496"/>
              <a:gd name="connsiteX33" fmla="*/ 1670642 w 2610377"/>
              <a:gd name="connsiteY33" fmla="*/ 405054 h 717496"/>
              <a:gd name="connsiteX34" fmla="*/ 1621697 w 2610377"/>
              <a:gd name="connsiteY34" fmla="*/ 405054 h 717496"/>
              <a:gd name="connsiteX35" fmla="*/ 1621697 w 2610377"/>
              <a:gd name="connsiteY35" fmla="*/ 652 h 717496"/>
              <a:gd name="connsiteX36" fmla="*/ 752442 w 2610377"/>
              <a:gd name="connsiteY36" fmla="*/ 405054 h 717496"/>
              <a:gd name="connsiteX37" fmla="*/ 467910 w 2610377"/>
              <a:gd name="connsiteY37" fmla="*/ 405054 h 717496"/>
              <a:gd name="connsiteX38" fmla="*/ 467910 w 2610377"/>
              <a:gd name="connsiteY38" fmla="*/ 652 h 717496"/>
              <a:gd name="connsiteX39" fmla="*/ 745916 w 2610377"/>
              <a:gd name="connsiteY39" fmla="*/ 652 h 717496"/>
              <a:gd name="connsiteX40" fmla="*/ 745916 w 2610377"/>
              <a:gd name="connsiteY40" fmla="*/ 45006 h 717496"/>
              <a:gd name="connsiteX41" fmla="*/ 516855 w 2610377"/>
              <a:gd name="connsiteY41" fmla="*/ 45006 h 717496"/>
              <a:gd name="connsiteX42" fmla="*/ 516855 w 2610377"/>
              <a:gd name="connsiteY42" fmla="*/ 174806 h 717496"/>
              <a:gd name="connsiteX43" fmla="*/ 714591 w 2610377"/>
              <a:gd name="connsiteY43" fmla="*/ 174806 h 717496"/>
              <a:gd name="connsiteX44" fmla="*/ 714591 w 2610377"/>
              <a:gd name="connsiteY44" fmla="*/ 219159 h 717496"/>
              <a:gd name="connsiteX45" fmla="*/ 516855 w 2610377"/>
              <a:gd name="connsiteY45" fmla="*/ 219159 h 717496"/>
              <a:gd name="connsiteX46" fmla="*/ 516855 w 2610377"/>
              <a:gd name="connsiteY46" fmla="*/ 360048 h 717496"/>
              <a:gd name="connsiteX47" fmla="*/ 752442 w 2610377"/>
              <a:gd name="connsiteY47" fmla="*/ 360048 h 717496"/>
              <a:gd name="connsiteX48" fmla="*/ 752442 w 2610377"/>
              <a:gd name="connsiteY48" fmla="*/ 405054 h 717496"/>
              <a:gd name="connsiteX49" fmla="*/ 2077861 w 2610377"/>
              <a:gd name="connsiteY49" fmla="*/ 234161 h 717496"/>
              <a:gd name="connsiteX50" fmla="*/ 2166614 w 2610377"/>
              <a:gd name="connsiteY50" fmla="*/ 120016 h 717496"/>
              <a:gd name="connsiteX51" fmla="*/ 2031527 w 2610377"/>
              <a:gd name="connsiteY51" fmla="*/ 0 h 717496"/>
              <a:gd name="connsiteX52" fmla="*/ 1858589 w 2610377"/>
              <a:gd name="connsiteY52" fmla="*/ 0 h 717496"/>
              <a:gd name="connsiteX53" fmla="*/ 1858589 w 2610377"/>
              <a:gd name="connsiteY53" fmla="*/ 404401 h 717496"/>
              <a:gd name="connsiteX54" fmla="*/ 1907534 w 2610377"/>
              <a:gd name="connsiteY54" fmla="*/ 404401 h 717496"/>
              <a:gd name="connsiteX55" fmla="*/ 1907534 w 2610377"/>
              <a:gd name="connsiteY55" fmla="*/ 240032 h 717496"/>
              <a:gd name="connsiteX56" fmla="*/ 2025001 w 2610377"/>
              <a:gd name="connsiteY56" fmla="*/ 240032 h 717496"/>
              <a:gd name="connsiteX57" fmla="*/ 2120280 w 2610377"/>
              <a:gd name="connsiteY57" fmla="*/ 404401 h 717496"/>
              <a:gd name="connsiteX58" fmla="*/ 2178360 w 2610377"/>
              <a:gd name="connsiteY58" fmla="*/ 404401 h 717496"/>
              <a:gd name="connsiteX59" fmla="*/ 2077861 w 2610377"/>
              <a:gd name="connsiteY59" fmla="*/ 234161 h 717496"/>
              <a:gd name="connsiteX60" fmla="*/ 1907534 w 2610377"/>
              <a:gd name="connsiteY60" fmla="*/ 196330 h 717496"/>
              <a:gd name="connsiteX61" fmla="*/ 1907534 w 2610377"/>
              <a:gd name="connsiteY61" fmla="*/ 45006 h 717496"/>
              <a:gd name="connsiteX62" fmla="*/ 2029569 w 2610377"/>
              <a:gd name="connsiteY62" fmla="*/ 45006 h 717496"/>
              <a:gd name="connsiteX63" fmla="*/ 2115059 w 2610377"/>
              <a:gd name="connsiteY63" fmla="*/ 120668 h 717496"/>
              <a:gd name="connsiteX64" fmla="*/ 2029569 w 2610377"/>
              <a:gd name="connsiteY64" fmla="*/ 196983 h 717496"/>
              <a:gd name="connsiteX65" fmla="*/ 1907534 w 2610377"/>
              <a:gd name="connsiteY65" fmla="*/ 196983 h 717496"/>
              <a:gd name="connsiteX66" fmla="*/ 2610378 w 2610377"/>
              <a:gd name="connsiteY66" fmla="*/ 652 h 717496"/>
              <a:gd name="connsiteX67" fmla="*/ 2610378 w 2610377"/>
              <a:gd name="connsiteY67" fmla="*/ 405054 h 717496"/>
              <a:gd name="connsiteX68" fmla="*/ 2325847 w 2610377"/>
              <a:gd name="connsiteY68" fmla="*/ 405054 h 717496"/>
              <a:gd name="connsiteX69" fmla="*/ 2325847 w 2610377"/>
              <a:gd name="connsiteY69" fmla="*/ 360700 h 717496"/>
              <a:gd name="connsiteX70" fmla="*/ 2561433 w 2610377"/>
              <a:gd name="connsiteY70" fmla="*/ 360700 h 717496"/>
              <a:gd name="connsiteX71" fmla="*/ 2561433 w 2610377"/>
              <a:gd name="connsiteY71" fmla="*/ 219812 h 717496"/>
              <a:gd name="connsiteX72" fmla="*/ 2363697 w 2610377"/>
              <a:gd name="connsiteY72" fmla="*/ 219812 h 717496"/>
              <a:gd name="connsiteX73" fmla="*/ 2363697 w 2610377"/>
              <a:gd name="connsiteY73" fmla="*/ 175458 h 717496"/>
              <a:gd name="connsiteX74" fmla="*/ 2561433 w 2610377"/>
              <a:gd name="connsiteY74" fmla="*/ 175458 h 717496"/>
              <a:gd name="connsiteX75" fmla="*/ 2561433 w 2610377"/>
              <a:gd name="connsiteY75" fmla="*/ 45658 h 717496"/>
              <a:gd name="connsiteX76" fmla="*/ 2332373 w 2610377"/>
              <a:gd name="connsiteY76" fmla="*/ 45658 h 717496"/>
              <a:gd name="connsiteX77" fmla="*/ 2332373 w 2610377"/>
              <a:gd name="connsiteY77" fmla="*/ 1305 h 717496"/>
              <a:gd name="connsiteX78" fmla="*/ 2610378 w 2610377"/>
              <a:gd name="connsiteY78" fmla="*/ 1305 h 717496"/>
              <a:gd name="connsiteX79" fmla="*/ 29367 w 2610377"/>
              <a:gd name="connsiteY79" fmla="*/ 715530 h 717496"/>
              <a:gd name="connsiteX80" fmla="*/ 0 w 2610377"/>
              <a:gd name="connsiteY80" fmla="*/ 715530 h 717496"/>
              <a:gd name="connsiteX81" fmla="*/ 0 w 2610377"/>
              <a:gd name="connsiteY81" fmla="*/ 567466 h 717496"/>
              <a:gd name="connsiteX82" fmla="*/ 29367 w 2610377"/>
              <a:gd name="connsiteY82" fmla="*/ 567466 h 717496"/>
              <a:gd name="connsiteX83" fmla="*/ 29367 w 2610377"/>
              <a:gd name="connsiteY83" fmla="*/ 715530 h 717496"/>
              <a:gd name="connsiteX84" fmla="*/ 78964 w 2610377"/>
              <a:gd name="connsiteY84" fmla="*/ 567466 h 717496"/>
              <a:gd name="connsiteX85" fmla="*/ 110289 w 2610377"/>
              <a:gd name="connsiteY85" fmla="*/ 567466 h 717496"/>
              <a:gd name="connsiteX86" fmla="*/ 157928 w 2610377"/>
              <a:gd name="connsiteY86" fmla="*/ 665958 h 717496"/>
              <a:gd name="connsiteX87" fmla="*/ 205567 w 2610377"/>
              <a:gd name="connsiteY87" fmla="*/ 567466 h 717496"/>
              <a:gd name="connsiteX88" fmla="*/ 236892 w 2610377"/>
              <a:gd name="connsiteY88" fmla="*/ 567466 h 717496"/>
              <a:gd name="connsiteX89" fmla="*/ 236892 w 2610377"/>
              <a:gd name="connsiteY89" fmla="*/ 715530 h 717496"/>
              <a:gd name="connsiteX90" fmla="*/ 207525 w 2610377"/>
              <a:gd name="connsiteY90" fmla="*/ 715530 h 717496"/>
              <a:gd name="connsiteX91" fmla="*/ 207525 w 2610377"/>
              <a:gd name="connsiteY91" fmla="*/ 624865 h 717496"/>
              <a:gd name="connsiteX92" fmla="*/ 167717 w 2610377"/>
              <a:gd name="connsiteY92" fmla="*/ 705746 h 717496"/>
              <a:gd name="connsiteX93" fmla="*/ 148792 w 2610377"/>
              <a:gd name="connsiteY93" fmla="*/ 705746 h 717496"/>
              <a:gd name="connsiteX94" fmla="*/ 108983 w 2610377"/>
              <a:gd name="connsiteY94" fmla="*/ 624865 h 717496"/>
              <a:gd name="connsiteX95" fmla="*/ 108983 w 2610377"/>
              <a:gd name="connsiteY95" fmla="*/ 715530 h 717496"/>
              <a:gd name="connsiteX96" fmla="*/ 79617 w 2610377"/>
              <a:gd name="connsiteY96" fmla="*/ 715530 h 717496"/>
              <a:gd name="connsiteX97" fmla="*/ 79617 w 2610377"/>
              <a:gd name="connsiteY97" fmla="*/ 567466 h 717496"/>
              <a:gd name="connsiteX98" fmla="*/ 281921 w 2610377"/>
              <a:gd name="connsiteY98" fmla="*/ 715530 h 717496"/>
              <a:gd name="connsiteX99" fmla="*/ 281921 w 2610377"/>
              <a:gd name="connsiteY99" fmla="*/ 567466 h 717496"/>
              <a:gd name="connsiteX100" fmla="*/ 346528 w 2610377"/>
              <a:gd name="connsiteY100" fmla="*/ 567466 h 717496"/>
              <a:gd name="connsiteX101" fmla="*/ 399388 w 2610377"/>
              <a:gd name="connsiteY101" fmla="*/ 616386 h 717496"/>
              <a:gd name="connsiteX102" fmla="*/ 346528 w 2610377"/>
              <a:gd name="connsiteY102" fmla="*/ 664653 h 717496"/>
              <a:gd name="connsiteX103" fmla="*/ 311288 w 2610377"/>
              <a:gd name="connsiteY103" fmla="*/ 664653 h 717496"/>
              <a:gd name="connsiteX104" fmla="*/ 311288 w 2610377"/>
              <a:gd name="connsiteY104" fmla="*/ 715530 h 717496"/>
              <a:gd name="connsiteX105" fmla="*/ 281921 w 2610377"/>
              <a:gd name="connsiteY105" fmla="*/ 715530 h 717496"/>
              <a:gd name="connsiteX106" fmla="*/ 311288 w 2610377"/>
              <a:gd name="connsiteY106" fmla="*/ 639215 h 717496"/>
              <a:gd name="connsiteX107" fmla="*/ 344570 w 2610377"/>
              <a:gd name="connsiteY107" fmla="*/ 639215 h 717496"/>
              <a:gd name="connsiteX108" fmla="*/ 369369 w 2610377"/>
              <a:gd name="connsiteY108" fmla="*/ 616386 h 717496"/>
              <a:gd name="connsiteX109" fmla="*/ 344570 w 2610377"/>
              <a:gd name="connsiteY109" fmla="*/ 592905 h 717496"/>
              <a:gd name="connsiteX110" fmla="*/ 311288 w 2610377"/>
              <a:gd name="connsiteY110" fmla="*/ 592905 h 717496"/>
              <a:gd name="connsiteX111" fmla="*/ 311288 w 2610377"/>
              <a:gd name="connsiteY111" fmla="*/ 639215 h 717496"/>
              <a:gd name="connsiteX112" fmla="*/ 426144 w 2610377"/>
              <a:gd name="connsiteY112" fmla="*/ 641824 h 717496"/>
              <a:gd name="connsiteX113" fmla="*/ 503803 w 2610377"/>
              <a:gd name="connsiteY113" fmla="*/ 565510 h 717496"/>
              <a:gd name="connsiteX114" fmla="*/ 581462 w 2610377"/>
              <a:gd name="connsiteY114" fmla="*/ 641824 h 717496"/>
              <a:gd name="connsiteX115" fmla="*/ 503803 w 2610377"/>
              <a:gd name="connsiteY115" fmla="*/ 717486 h 717496"/>
              <a:gd name="connsiteX116" fmla="*/ 426144 w 2610377"/>
              <a:gd name="connsiteY116" fmla="*/ 641824 h 717496"/>
              <a:gd name="connsiteX117" fmla="*/ 503803 w 2610377"/>
              <a:gd name="connsiteY117" fmla="*/ 690744 h 717496"/>
              <a:gd name="connsiteX118" fmla="*/ 551442 w 2610377"/>
              <a:gd name="connsiteY118" fmla="*/ 641824 h 717496"/>
              <a:gd name="connsiteX119" fmla="*/ 503803 w 2610377"/>
              <a:gd name="connsiteY119" fmla="*/ 592905 h 717496"/>
              <a:gd name="connsiteX120" fmla="*/ 456164 w 2610377"/>
              <a:gd name="connsiteY120" fmla="*/ 641824 h 717496"/>
              <a:gd name="connsiteX121" fmla="*/ 503803 w 2610377"/>
              <a:gd name="connsiteY121" fmla="*/ 690744 h 717496"/>
              <a:gd name="connsiteX122" fmla="*/ 629754 w 2610377"/>
              <a:gd name="connsiteY122" fmla="*/ 667262 h 717496"/>
              <a:gd name="connsiteX123" fmla="*/ 667604 w 2610377"/>
              <a:gd name="connsiteY123" fmla="*/ 691396 h 717496"/>
              <a:gd name="connsiteX124" fmla="*/ 693055 w 2610377"/>
              <a:gd name="connsiteY124" fmla="*/ 675089 h 717496"/>
              <a:gd name="connsiteX125" fmla="*/ 664341 w 2610377"/>
              <a:gd name="connsiteY125" fmla="*/ 654217 h 717496"/>
              <a:gd name="connsiteX126" fmla="*/ 612786 w 2610377"/>
              <a:gd name="connsiteY126" fmla="*/ 607907 h 717496"/>
              <a:gd name="connsiteX127" fmla="*/ 664994 w 2610377"/>
              <a:gd name="connsiteY127" fmla="*/ 565510 h 717496"/>
              <a:gd name="connsiteX128" fmla="*/ 719812 w 2610377"/>
              <a:gd name="connsiteY128" fmla="*/ 597470 h 717496"/>
              <a:gd name="connsiteX129" fmla="*/ 696971 w 2610377"/>
              <a:gd name="connsiteY129" fmla="*/ 613777 h 717496"/>
              <a:gd name="connsiteX130" fmla="*/ 664341 w 2610377"/>
              <a:gd name="connsiteY130" fmla="*/ 592252 h 717496"/>
              <a:gd name="connsiteX131" fmla="*/ 642806 w 2610377"/>
              <a:gd name="connsiteY131" fmla="*/ 607907 h 717496"/>
              <a:gd name="connsiteX132" fmla="*/ 672172 w 2610377"/>
              <a:gd name="connsiteY132" fmla="*/ 628127 h 717496"/>
              <a:gd name="connsiteX133" fmla="*/ 723075 w 2610377"/>
              <a:gd name="connsiteY133" fmla="*/ 674437 h 717496"/>
              <a:gd name="connsiteX134" fmla="*/ 666952 w 2610377"/>
              <a:gd name="connsiteY134" fmla="*/ 717486 h 717496"/>
              <a:gd name="connsiteX135" fmla="*/ 607566 w 2610377"/>
              <a:gd name="connsiteY135" fmla="*/ 682264 h 717496"/>
              <a:gd name="connsiteX136" fmla="*/ 629754 w 2610377"/>
              <a:gd name="connsiteY136" fmla="*/ 667262 h 717496"/>
              <a:gd name="connsiteX137" fmla="*/ 770714 w 2610377"/>
              <a:gd name="connsiteY137" fmla="*/ 667262 h 717496"/>
              <a:gd name="connsiteX138" fmla="*/ 808565 w 2610377"/>
              <a:gd name="connsiteY138" fmla="*/ 691396 h 717496"/>
              <a:gd name="connsiteX139" fmla="*/ 834016 w 2610377"/>
              <a:gd name="connsiteY139" fmla="*/ 675089 h 717496"/>
              <a:gd name="connsiteX140" fmla="*/ 805302 w 2610377"/>
              <a:gd name="connsiteY140" fmla="*/ 654217 h 717496"/>
              <a:gd name="connsiteX141" fmla="*/ 753747 w 2610377"/>
              <a:gd name="connsiteY141" fmla="*/ 607907 h 717496"/>
              <a:gd name="connsiteX142" fmla="*/ 805954 w 2610377"/>
              <a:gd name="connsiteY142" fmla="*/ 565510 h 717496"/>
              <a:gd name="connsiteX143" fmla="*/ 860772 w 2610377"/>
              <a:gd name="connsiteY143" fmla="*/ 597470 h 717496"/>
              <a:gd name="connsiteX144" fmla="*/ 837931 w 2610377"/>
              <a:gd name="connsiteY144" fmla="*/ 613777 h 717496"/>
              <a:gd name="connsiteX145" fmla="*/ 805302 w 2610377"/>
              <a:gd name="connsiteY145" fmla="*/ 592252 h 717496"/>
              <a:gd name="connsiteX146" fmla="*/ 783766 w 2610377"/>
              <a:gd name="connsiteY146" fmla="*/ 607907 h 717496"/>
              <a:gd name="connsiteX147" fmla="*/ 813133 w 2610377"/>
              <a:gd name="connsiteY147" fmla="*/ 628127 h 717496"/>
              <a:gd name="connsiteX148" fmla="*/ 864035 w 2610377"/>
              <a:gd name="connsiteY148" fmla="*/ 674437 h 717496"/>
              <a:gd name="connsiteX149" fmla="*/ 807912 w 2610377"/>
              <a:gd name="connsiteY149" fmla="*/ 717486 h 717496"/>
              <a:gd name="connsiteX150" fmla="*/ 748526 w 2610377"/>
              <a:gd name="connsiteY150" fmla="*/ 682264 h 717496"/>
              <a:gd name="connsiteX151" fmla="*/ 770714 w 2610377"/>
              <a:gd name="connsiteY151" fmla="*/ 667262 h 717496"/>
              <a:gd name="connsiteX152" fmla="*/ 933863 w 2610377"/>
              <a:gd name="connsiteY152" fmla="*/ 715530 h 717496"/>
              <a:gd name="connsiteX153" fmla="*/ 904496 w 2610377"/>
              <a:gd name="connsiteY153" fmla="*/ 715530 h 717496"/>
              <a:gd name="connsiteX154" fmla="*/ 904496 w 2610377"/>
              <a:gd name="connsiteY154" fmla="*/ 567466 h 717496"/>
              <a:gd name="connsiteX155" fmla="*/ 933863 w 2610377"/>
              <a:gd name="connsiteY155" fmla="*/ 567466 h 717496"/>
              <a:gd name="connsiteX156" fmla="*/ 933863 w 2610377"/>
              <a:gd name="connsiteY156" fmla="*/ 715530 h 717496"/>
              <a:gd name="connsiteX157" fmla="*/ 978892 w 2610377"/>
              <a:gd name="connsiteY157" fmla="*/ 567466 h 717496"/>
              <a:gd name="connsiteX158" fmla="*/ 1047414 w 2610377"/>
              <a:gd name="connsiteY158" fmla="*/ 567466 h 717496"/>
              <a:gd name="connsiteX159" fmla="*/ 1093096 w 2610377"/>
              <a:gd name="connsiteY159" fmla="*/ 607907 h 717496"/>
              <a:gd name="connsiteX160" fmla="*/ 1073518 w 2610377"/>
              <a:gd name="connsiteY160" fmla="*/ 638563 h 717496"/>
              <a:gd name="connsiteX161" fmla="*/ 1098316 w 2610377"/>
              <a:gd name="connsiteY161" fmla="*/ 674437 h 717496"/>
              <a:gd name="connsiteX162" fmla="*/ 1051982 w 2610377"/>
              <a:gd name="connsiteY162" fmla="*/ 715530 h 717496"/>
              <a:gd name="connsiteX163" fmla="*/ 978892 w 2610377"/>
              <a:gd name="connsiteY163" fmla="*/ 715530 h 717496"/>
              <a:gd name="connsiteX164" fmla="*/ 978892 w 2610377"/>
              <a:gd name="connsiteY164" fmla="*/ 567466 h 717496"/>
              <a:gd name="connsiteX165" fmla="*/ 1008258 w 2610377"/>
              <a:gd name="connsiteY165" fmla="*/ 592905 h 717496"/>
              <a:gd name="connsiteX166" fmla="*/ 1008258 w 2610377"/>
              <a:gd name="connsiteY166" fmla="*/ 629431 h 717496"/>
              <a:gd name="connsiteX167" fmla="*/ 1042846 w 2610377"/>
              <a:gd name="connsiteY167" fmla="*/ 629431 h 717496"/>
              <a:gd name="connsiteX168" fmla="*/ 1062424 w 2610377"/>
              <a:gd name="connsiteY168" fmla="*/ 611820 h 717496"/>
              <a:gd name="connsiteX169" fmla="*/ 1042193 w 2610377"/>
              <a:gd name="connsiteY169" fmla="*/ 593557 h 717496"/>
              <a:gd name="connsiteX170" fmla="*/ 1008258 w 2610377"/>
              <a:gd name="connsiteY170" fmla="*/ 593557 h 717496"/>
              <a:gd name="connsiteX171" fmla="*/ 1008258 w 2610377"/>
              <a:gd name="connsiteY171" fmla="*/ 652260 h 717496"/>
              <a:gd name="connsiteX172" fmla="*/ 1008258 w 2610377"/>
              <a:gd name="connsiteY172" fmla="*/ 690744 h 717496"/>
              <a:gd name="connsiteX173" fmla="*/ 1046762 w 2610377"/>
              <a:gd name="connsiteY173" fmla="*/ 690744 h 717496"/>
              <a:gd name="connsiteX174" fmla="*/ 1066340 w 2610377"/>
              <a:gd name="connsiteY174" fmla="*/ 672480 h 717496"/>
              <a:gd name="connsiteX175" fmla="*/ 1046762 w 2610377"/>
              <a:gd name="connsiteY175" fmla="*/ 652260 h 717496"/>
              <a:gd name="connsiteX176" fmla="*/ 1008258 w 2610377"/>
              <a:gd name="connsiteY176" fmla="*/ 652260 h 717496"/>
              <a:gd name="connsiteX177" fmla="*/ 1247108 w 2610377"/>
              <a:gd name="connsiteY177" fmla="*/ 715530 h 717496"/>
              <a:gd name="connsiteX178" fmla="*/ 1137472 w 2610377"/>
              <a:gd name="connsiteY178" fmla="*/ 715530 h 717496"/>
              <a:gd name="connsiteX179" fmla="*/ 1137472 w 2610377"/>
              <a:gd name="connsiteY179" fmla="*/ 567466 h 717496"/>
              <a:gd name="connsiteX180" fmla="*/ 1166839 w 2610377"/>
              <a:gd name="connsiteY180" fmla="*/ 567466 h 717496"/>
              <a:gd name="connsiteX181" fmla="*/ 1166839 w 2610377"/>
              <a:gd name="connsiteY181" fmla="*/ 690091 h 717496"/>
              <a:gd name="connsiteX182" fmla="*/ 1246455 w 2610377"/>
              <a:gd name="connsiteY182" fmla="*/ 690091 h 717496"/>
              <a:gd name="connsiteX183" fmla="*/ 1246455 w 2610377"/>
              <a:gd name="connsiteY183" fmla="*/ 715530 h 717496"/>
              <a:gd name="connsiteX184" fmla="*/ 1281043 w 2610377"/>
              <a:gd name="connsiteY184" fmla="*/ 567466 h 717496"/>
              <a:gd name="connsiteX185" fmla="*/ 1386763 w 2610377"/>
              <a:gd name="connsiteY185" fmla="*/ 567466 h 717496"/>
              <a:gd name="connsiteX186" fmla="*/ 1386763 w 2610377"/>
              <a:gd name="connsiteY186" fmla="*/ 592905 h 717496"/>
              <a:gd name="connsiteX187" fmla="*/ 1311062 w 2610377"/>
              <a:gd name="connsiteY187" fmla="*/ 592905 h 717496"/>
              <a:gd name="connsiteX188" fmla="*/ 1311062 w 2610377"/>
              <a:gd name="connsiteY188" fmla="*/ 626822 h 717496"/>
              <a:gd name="connsiteX189" fmla="*/ 1376974 w 2610377"/>
              <a:gd name="connsiteY189" fmla="*/ 626822 h 717496"/>
              <a:gd name="connsiteX190" fmla="*/ 1376974 w 2610377"/>
              <a:gd name="connsiteY190" fmla="*/ 652260 h 717496"/>
              <a:gd name="connsiteX191" fmla="*/ 1311062 w 2610377"/>
              <a:gd name="connsiteY191" fmla="*/ 652260 h 717496"/>
              <a:gd name="connsiteX192" fmla="*/ 1311062 w 2610377"/>
              <a:gd name="connsiteY192" fmla="*/ 690091 h 717496"/>
              <a:gd name="connsiteX193" fmla="*/ 1388721 w 2610377"/>
              <a:gd name="connsiteY193" fmla="*/ 690091 h 717496"/>
              <a:gd name="connsiteX194" fmla="*/ 1388721 w 2610377"/>
              <a:gd name="connsiteY194" fmla="*/ 715530 h 717496"/>
              <a:gd name="connsiteX195" fmla="*/ 1281696 w 2610377"/>
              <a:gd name="connsiteY195" fmla="*/ 715530 h 717496"/>
              <a:gd name="connsiteX196" fmla="*/ 1281696 w 2610377"/>
              <a:gd name="connsiteY196" fmla="*/ 567466 h 717496"/>
              <a:gd name="connsiteX197" fmla="*/ 1504230 w 2610377"/>
              <a:gd name="connsiteY197" fmla="*/ 715530 h 717496"/>
              <a:gd name="connsiteX198" fmla="*/ 1504230 w 2610377"/>
              <a:gd name="connsiteY198" fmla="*/ 567466 h 717496"/>
              <a:gd name="connsiteX199" fmla="*/ 1530987 w 2610377"/>
              <a:gd name="connsiteY199" fmla="*/ 567466 h 717496"/>
              <a:gd name="connsiteX200" fmla="*/ 1613214 w 2610377"/>
              <a:gd name="connsiteY200" fmla="*/ 669219 h 717496"/>
              <a:gd name="connsiteX201" fmla="*/ 1613214 w 2610377"/>
              <a:gd name="connsiteY201" fmla="*/ 567466 h 717496"/>
              <a:gd name="connsiteX202" fmla="*/ 1642580 w 2610377"/>
              <a:gd name="connsiteY202" fmla="*/ 567466 h 717496"/>
              <a:gd name="connsiteX203" fmla="*/ 1642580 w 2610377"/>
              <a:gd name="connsiteY203" fmla="*/ 715530 h 717496"/>
              <a:gd name="connsiteX204" fmla="*/ 1615171 w 2610377"/>
              <a:gd name="connsiteY204" fmla="*/ 715530 h 717496"/>
              <a:gd name="connsiteX205" fmla="*/ 1533597 w 2610377"/>
              <a:gd name="connsiteY205" fmla="*/ 615081 h 717496"/>
              <a:gd name="connsiteX206" fmla="*/ 1533597 w 2610377"/>
              <a:gd name="connsiteY206" fmla="*/ 715530 h 717496"/>
              <a:gd name="connsiteX207" fmla="*/ 1504230 w 2610377"/>
              <a:gd name="connsiteY207" fmla="*/ 715530 h 717496"/>
              <a:gd name="connsiteX208" fmla="*/ 1682388 w 2610377"/>
              <a:gd name="connsiteY208" fmla="*/ 641824 h 717496"/>
              <a:gd name="connsiteX209" fmla="*/ 1760047 w 2610377"/>
              <a:gd name="connsiteY209" fmla="*/ 565510 h 717496"/>
              <a:gd name="connsiteX210" fmla="*/ 1837706 w 2610377"/>
              <a:gd name="connsiteY210" fmla="*/ 641824 h 717496"/>
              <a:gd name="connsiteX211" fmla="*/ 1760047 w 2610377"/>
              <a:gd name="connsiteY211" fmla="*/ 717486 h 717496"/>
              <a:gd name="connsiteX212" fmla="*/ 1682388 w 2610377"/>
              <a:gd name="connsiteY212" fmla="*/ 641824 h 717496"/>
              <a:gd name="connsiteX213" fmla="*/ 1760047 w 2610377"/>
              <a:gd name="connsiteY213" fmla="*/ 690744 h 717496"/>
              <a:gd name="connsiteX214" fmla="*/ 1807687 w 2610377"/>
              <a:gd name="connsiteY214" fmla="*/ 641824 h 717496"/>
              <a:gd name="connsiteX215" fmla="*/ 1760047 w 2610377"/>
              <a:gd name="connsiteY215" fmla="*/ 592905 h 717496"/>
              <a:gd name="connsiteX216" fmla="*/ 1712408 w 2610377"/>
              <a:gd name="connsiteY216" fmla="*/ 641824 h 717496"/>
              <a:gd name="connsiteX217" fmla="*/ 1760047 w 2610377"/>
              <a:gd name="connsiteY217" fmla="*/ 690744 h 717496"/>
              <a:gd name="connsiteX218" fmla="*/ 1954520 w 2610377"/>
              <a:gd name="connsiteY218" fmla="*/ 567466 h 717496"/>
              <a:gd name="connsiteX219" fmla="*/ 1985845 w 2610377"/>
              <a:gd name="connsiteY219" fmla="*/ 567466 h 717496"/>
              <a:gd name="connsiteX220" fmla="*/ 2033485 w 2610377"/>
              <a:gd name="connsiteY220" fmla="*/ 665958 h 717496"/>
              <a:gd name="connsiteX221" fmla="*/ 2081124 w 2610377"/>
              <a:gd name="connsiteY221" fmla="*/ 567466 h 717496"/>
              <a:gd name="connsiteX222" fmla="*/ 2112448 w 2610377"/>
              <a:gd name="connsiteY222" fmla="*/ 567466 h 717496"/>
              <a:gd name="connsiteX223" fmla="*/ 2112448 w 2610377"/>
              <a:gd name="connsiteY223" fmla="*/ 715530 h 717496"/>
              <a:gd name="connsiteX224" fmla="*/ 2083082 w 2610377"/>
              <a:gd name="connsiteY224" fmla="*/ 715530 h 717496"/>
              <a:gd name="connsiteX225" fmla="*/ 2083082 w 2610377"/>
              <a:gd name="connsiteY225" fmla="*/ 624865 h 717496"/>
              <a:gd name="connsiteX226" fmla="*/ 2043274 w 2610377"/>
              <a:gd name="connsiteY226" fmla="*/ 705746 h 717496"/>
              <a:gd name="connsiteX227" fmla="*/ 2024348 w 2610377"/>
              <a:gd name="connsiteY227" fmla="*/ 705746 h 717496"/>
              <a:gd name="connsiteX228" fmla="*/ 1984540 w 2610377"/>
              <a:gd name="connsiteY228" fmla="*/ 624865 h 717496"/>
              <a:gd name="connsiteX229" fmla="*/ 1984540 w 2610377"/>
              <a:gd name="connsiteY229" fmla="*/ 715530 h 717496"/>
              <a:gd name="connsiteX230" fmla="*/ 1955173 w 2610377"/>
              <a:gd name="connsiteY230" fmla="*/ 715530 h 717496"/>
              <a:gd name="connsiteX231" fmla="*/ 1955173 w 2610377"/>
              <a:gd name="connsiteY231" fmla="*/ 567466 h 717496"/>
              <a:gd name="connsiteX232" fmla="*/ 2152257 w 2610377"/>
              <a:gd name="connsiteY232" fmla="*/ 641824 h 717496"/>
              <a:gd name="connsiteX233" fmla="*/ 2229915 w 2610377"/>
              <a:gd name="connsiteY233" fmla="*/ 565510 h 717496"/>
              <a:gd name="connsiteX234" fmla="*/ 2307574 w 2610377"/>
              <a:gd name="connsiteY234" fmla="*/ 641824 h 717496"/>
              <a:gd name="connsiteX235" fmla="*/ 2229915 w 2610377"/>
              <a:gd name="connsiteY235" fmla="*/ 717486 h 717496"/>
              <a:gd name="connsiteX236" fmla="*/ 2152257 w 2610377"/>
              <a:gd name="connsiteY236" fmla="*/ 641824 h 717496"/>
              <a:gd name="connsiteX237" fmla="*/ 2229915 w 2610377"/>
              <a:gd name="connsiteY237" fmla="*/ 690744 h 717496"/>
              <a:gd name="connsiteX238" fmla="*/ 2277555 w 2610377"/>
              <a:gd name="connsiteY238" fmla="*/ 641824 h 717496"/>
              <a:gd name="connsiteX239" fmla="*/ 2229915 w 2610377"/>
              <a:gd name="connsiteY239" fmla="*/ 592905 h 717496"/>
              <a:gd name="connsiteX240" fmla="*/ 2182276 w 2610377"/>
              <a:gd name="connsiteY240" fmla="*/ 641824 h 717496"/>
              <a:gd name="connsiteX241" fmla="*/ 2229915 w 2610377"/>
              <a:gd name="connsiteY241" fmla="*/ 690744 h 717496"/>
              <a:gd name="connsiteX242" fmla="*/ 2342814 w 2610377"/>
              <a:gd name="connsiteY242" fmla="*/ 715530 h 717496"/>
              <a:gd name="connsiteX243" fmla="*/ 2342814 w 2610377"/>
              <a:gd name="connsiteY243" fmla="*/ 567466 h 717496"/>
              <a:gd name="connsiteX244" fmla="*/ 2408074 w 2610377"/>
              <a:gd name="connsiteY244" fmla="*/ 567466 h 717496"/>
              <a:gd name="connsiteX245" fmla="*/ 2460934 w 2610377"/>
              <a:gd name="connsiteY245" fmla="*/ 615081 h 717496"/>
              <a:gd name="connsiteX246" fmla="*/ 2433525 w 2610377"/>
              <a:gd name="connsiteY246" fmla="*/ 656826 h 717496"/>
              <a:gd name="connsiteX247" fmla="*/ 2466807 w 2610377"/>
              <a:gd name="connsiteY247" fmla="*/ 715530 h 717496"/>
              <a:gd name="connsiteX248" fmla="*/ 2434177 w 2610377"/>
              <a:gd name="connsiteY248" fmla="*/ 715530 h 717496"/>
              <a:gd name="connsiteX249" fmla="*/ 2404158 w 2610377"/>
              <a:gd name="connsiteY249" fmla="*/ 661392 h 717496"/>
              <a:gd name="connsiteX250" fmla="*/ 2372181 w 2610377"/>
              <a:gd name="connsiteY250" fmla="*/ 661392 h 717496"/>
              <a:gd name="connsiteX251" fmla="*/ 2372181 w 2610377"/>
              <a:gd name="connsiteY251" fmla="*/ 714877 h 717496"/>
              <a:gd name="connsiteX252" fmla="*/ 2342814 w 2610377"/>
              <a:gd name="connsiteY252" fmla="*/ 714877 h 717496"/>
              <a:gd name="connsiteX253" fmla="*/ 2372181 w 2610377"/>
              <a:gd name="connsiteY253" fmla="*/ 635954 h 717496"/>
              <a:gd name="connsiteX254" fmla="*/ 2406116 w 2610377"/>
              <a:gd name="connsiteY254" fmla="*/ 635954 h 717496"/>
              <a:gd name="connsiteX255" fmla="*/ 2430914 w 2610377"/>
              <a:gd name="connsiteY255" fmla="*/ 615081 h 717496"/>
              <a:gd name="connsiteX256" fmla="*/ 2406116 w 2610377"/>
              <a:gd name="connsiteY256" fmla="*/ 592905 h 717496"/>
              <a:gd name="connsiteX257" fmla="*/ 2372181 w 2610377"/>
              <a:gd name="connsiteY257" fmla="*/ 592905 h 717496"/>
              <a:gd name="connsiteX258" fmla="*/ 2372181 w 2610377"/>
              <a:gd name="connsiteY258" fmla="*/ 635954 h 717496"/>
              <a:gd name="connsiteX259" fmla="*/ 2503353 w 2610377"/>
              <a:gd name="connsiteY259" fmla="*/ 567466 h 717496"/>
              <a:gd name="connsiteX260" fmla="*/ 2609073 w 2610377"/>
              <a:gd name="connsiteY260" fmla="*/ 567466 h 717496"/>
              <a:gd name="connsiteX261" fmla="*/ 2609073 w 2610377"/>
              <a:gd name="connsiteY261" fmla="*/ 592905 h 717496"/>
              <a:gd name="connsiteX262" fmla="*/ 2533372 w 2610377"/>
              <a:gd name="connsiteY262" fmla="*/ 592905 h 717496"/>
              <a:gd name="connsiteX263" fmla="*/ 2533372 w 2610377"/>
              <a:gd name="connsiteY263" fmla="*/ 626822 h 717496"/>
              <a:gd name="connsiteX264" fmla="*/ 2598631 w 2610377"/>
              <a:gd name="connsiteY264" fmla="*/ 626822 h 717496"/>
              <a:gd name="connsiteX265" fmla="*/ 2598631 w 2610377"/>
              <a:gd name="connsiteY265" fmla="*/ 652260 h 717496"/>
              <a:gd name="connsiteX266" fmla="*/ 2532719 w 2610377"/>
              <a:gd name="connsiteY266" fmla="*/ 652260 h 717496"/>
              <a:gd name="connsiteX267" fmla="*/ 2532719 w 2610377"/>
              <a:gd name="connsiteY267" fmla="*/ 690091 h 717496"/>
              <a:gd name="connsiteX268" fmla="*/ 2610378 w 2610377"/>
              <a:gd name="connsiteY268" fmla="*/ 690091 h 717496"/>
              <a:gd name="connsiteX269" fmla="*/ 2610378 w 2610377"/>
              <a:gd name="connsiteY269" fmla="*/ 715530 h 717496"/>
              <a:gd name="connsiteX270" fmla="*/ 2503353 w 2610377"/>
              <a:gd name="connsiteY270" fmla="*/ 715530 h 717496"/>
              <a:gd name="connsiteX271" fmla="*/ 2503353 w 2610377"/>
              <a:gd name="connsiteY271" fmla="*/ 567466 h 71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610377" h="717496">
                <a:moveTo>
                  <a:pt x="219924" y="234161"/>
                </a:moveTo>
                <a:cubicBezTo>
                  <a:pt x="274742" y="219812"/>
                  <a:pt x="308677" y="178067"/>
                  <a:pt x="308677" y="120016"/>
                </a:cubicBezTo>
                <a:cubicBezTo>
                  <a:pt x="308677" y="46311"/>
                  <a:pt x="255164" y="0"/>
                  <a:pt x="173590" y="0"/>
                </a:cubicBezTo>
                <a:lnTo>
                  <a:pt x="653" y="0"/>
                </a:lnTo>
                <a:lnTo>
                  <a:pt x="653" y="404401"/>
                </a:lnTo>
                <a:lnTo>
                  <a:pt x="49597" y="404401"/>
                </a:lnTo>
                <a:lnTo>
                  <a:pt x="49597" y="240032"/>
                </a:lnTo>
                <a:lnTo>
                  <a:pt x="167064" y="240032"/>
                </a:lnTo>
                <a:lnTo>
                  <a:pt x="262343" y="404401"/>
                </a:lnTo>
                <a:lnTo>
                  <a:pt x="320424" y="404401"/>
                </a:lnTo>
                <a:lnTo>
                  <a:pt x="219924" y="234161"/>
                </a:lnTo>
                <a:close/>
                <a:moveTo>
                  <a:pt x="49597" y="196330"/>
                </a:moveTo>
                <a:lnTo>
                  <a:pt x="49597" y="45006"/>
                </a:lnTo>
                <a:lnTo>
                  <a:pt x="170980" y="45006"/>
                </a:lnTo>
                <a:cubicBezTo>
                  <a:pt x="227756" y="45006"/>
                  <a:pt x="256470" y="73705"/>
                  <a:pt x="256470" y="120668"/>
                </a:cubicBezTo>
                <a:cubicBezTo>
                  <a:pt x="256470" y="166326"/>
                  <a:pt x="227103" y="196983"/>
                  <a:pt x="170980" y="196983"/>
                </a:cubicBezTo>
                <a:lnTo>
                  <a:pt x="49597" y="196983"/>
                </a:lnTo>
                <a:close/>
                <a:moveTo>
                  <a:pt x="1414825" y="652"/>
                </a:moveTo>
                <a:lnTo>
                  <a:pt x="1465075" y="652"/>
                </a:lnTo>
                <a:lnTo>
                  <a:pt x="1344997" y="405054"/>
                </a:lnTo>
                <a:lnTo>
                  <a:pt x="1273212" y="405054"/>
                </a:lnTo>
                <a:lnTo>
                  <a:pt x="1172712" y="75662"/>
                </a:lnTo>
                <a:lnTo>
                  <a:pt x="1072213" y="405054"/>
                </a:lnTo>
                <a:lnTo>
                  <a:pt x="1000427" y="405054"/>
                </a:lnTo>
                <a:lnTo>
                  <a:pt x="880350" y="652"/>
                </a:lnTo>
                <a:lnTo>
                  <a:pt x="930600" y="652"/>
                </a:lnTo>
                <a:lnTo>
                  <a:pt x="1036973" y="354830"/>
                </a:lnTo>
                <a:lnTo>
                  <a:pt x="1146609" y="3914"/>
                </a:lnTo>
                <a:lnTo>
                  <a:pt x="1198816" y="3914"/>
                </a:lnTo>
                <a:lnTo>
                  <a:pt x="1308452" y="354830"/>
                </a:lnTo>
                <a:lnTo>
                  <a:pt x="1414825" y="652"/>
                </a:lnTo>
                <a:close/>
                <a:moveTo>
                  <a:pt x="1621697" y="652"/>
                </a:moveTo>
                <a:lnTo>
                  <a:pt x="1670642" y="652"/>
                </a:lnTo>
                <a:lnTo>
                  <a:pt x="1670642" y="405054"/>
                </a:lnTo>
                <a:lnTo>
                  <a:pt x="1621697" y="405054"/>
                </a:lnTo>
                <a:lnTo>
                  <a:pt x="1621697" y="652"/>
                </a:lnTo>
                <a:close/>
                <a:moveTo>
                  <a:pt x="752442" y="405054"/>
                </a:moveTo>
                <a:lnTo>
                  <a:pt x="467910" y="405054"/>
                </a:lnTo>
                <a:lnTo>
                  <a:pt x="467910" y="652"/>
                </a:lnTo>
                <a:lnTo>
                  <a:pt x="745916" y="652"/>
                </a:lnTo>
                <a:lnTo>
                  <a:pt x="745916" y="45006"/>
                </a:lnTo>
                <a:lnTo>
                  <a:pt x="516855" y="45006"/>
                </a:lnTo>
                <a:lnTo>
                  <a:pt x="516855" y="174806"/>
                </a:lnTo>
                <a:lnTo>
                  <a:pt x="714591" y="174806"/>
                </a:lnTo>
                <a:lnTo>
                  <a:pt x="714591" y="219159"/>
                </a:lnTo>
                <a:lnTo>
                  <a:pt x="516855" y="219159"/>
                </a:lnTo>
                <a:lnTo>
                  <a:pt x="516855" y="360048"/>
                </a:lnTo>
                <a:lnTo>
                  <a:pt x="752442" y="360048"/>
                </a:lnTo>
                <a:lnTo>
                  <a:pt x="752442" y="405054"/>
                </a:lnTo>
                <a:close/>
                <a:moveTo>
                  <a:pt x="2077861" y="234161"/>
                </a:moveTo>
                <a:cubicBezTo>
                  <a:pt x="2132679" y="219812"/>
                  <a:pt x="2166614" y="178067"/>
                  <a:pt x="2166614" y="120016"/>
                </a:cubicBezTo>
                <a:cubicBezTo>
                  <a:pt x="2166614" y="46311"/>
                  <a:pt x="2113101" y="0"/>
                  <a:pt x="2031527" y="0"/>
                </a:cubicBezTo>
                <a:lnTo>
                  <a:pt x="1858589" y="0"/>
                </a:lnTo>
                <a:lnTo>
                  <a:pt x="1858589" y="404401"/>
                </a:lnTo>
                <a:lnTo>
                  <a:pt x="1907534" y="404401"/>
                </a:lnTo>
                <a:lnTo>
                  <a:pt x="1907534" y="240032"/>
                </a:lnTo>
                <a:lnTo>
                  <a:pt x="2025001" y="240032"/>
                </a:lnTo>
                <a:lnTo>
                  <a:pt x="2120280" y="404401"/>
                </a:lnTo>
                <a:lnTo>
                  <a:pt x="2178360" y="404401"/>
                </a:lnTo>
                <a:lnTo>
                  <a:pt x="2077861" y="234161"/>
                </a:lnTo>
                <a:close/>
                <a:moveTo>
                  <a:pt x="1907534" y="196330"/>
                </a:moveTo>
                <a:lnTo>
                  <a:pt x="1907534" y="45006"/>
                </a:lnTo>
                <a:lnTo>
                  <a:pt x="2029569" y="45006"/>
                </a:lnTo>
                <a:cubicBezTo>
                  <a:pt x="2086345" y="45006"/>
                  <a:pt x="2115059" y="73705"/>
                  <a:pt x="2115059" y="120668"/>
                </a:cubicBezTo>
                <a:cubicBezTo>
                  <a:pt x="2115059" y="166326"/>
                  <a:pt x="2085692" y="196983"/>
                  <a:pt x="2029569" y="196983"/>
                </a:cubicBezTo>
                <a:lnTo>
                  <a:pt x="1907534" y="196983"/>
                </a:lnTo>
                <a:close/>
                <a:moveTo>
                  <a:pt x="2610378" y="652"/>
                </a:moveTo>
                <a:lnTo>
                  <a:pt x="2610378" y="405054"/>
                </a:lnTo>
                <a:lnTo>
                  <a:pt x="2325847" y="405054"/>
                </a:lnTo>
                <a:lnTo>
                  <a:pt x="2325847" y="360700"/>
                </a:lnTo>
                <a:lnTo>
                  <a:pt x="2561433" y="360700"/>
                </a:lnTo>
                <a:lnTo>
                  <a:pt x="2561433" y="219812"/>
                </a:lnTo>
                <a:lnTo>
                  <a:pt x="2363697" y="219812"/>
                </a:lnTo>
                <a:lnTo>
                  <a:pt x="2363697" y="175458"/>
                </a:lnTo>
                <a:lnTo>
                  <a:pt x="2561433" y="175458"/>
                </a:lnTo>
                <a:lnTo>
                  <a:pt x="2561433" y="45658"/>
                </a:lnTo>
                <a:lnTo>
                  <a:pt x="2332373" y="45658"/>
                </a:lnTo>
                <a:lnTo>
                  <a:pt x="2332373" y="1305"/>
                </a:lnTo>
                <a:lnTo>
                  <a:pt x="2610378" y="1305"/>
                </a:lnTo>
                <a:close/>
                <a:moveTo>
                  <a:pt x="29367" y="715530"/>
                </a:moveTo>
                <a:lnTo>
                  <a:pt x="0" y="715530"/>
                </a:lnTo>
                <a:lnTo>
                  <a:pt x="0" y="567466"/>
                </a:lnTo>
                <a:lnTo>
                  <a:pt x="29367" y="567466"/>
                </a:lnTo>
                <a:lnTo>
                  <a:pt x="29367" y="715530"/>
                </a:lnTo>
                <a:close/>
                <a:moveTo>
                  <a:pt x="78964" y="567466"/>
                </a:moveTo>
                <a:lnTo>
                  <a:pt x="110289" y="567466"/>
                </a:lnTo>
                <a:lnTo>
                  <a:pt x="157928" y="665958"/>
                </a:lnTo>
                <a:lnTo>
                  <a:pt x="205567" y="567466"/>
                </a:lnTo>
                <a:lnTo>
                  <a:pt x="236892" y="567466"/>
                </a:lnTo>
                <a:lnTo>
                  <a:pt x="236892" y="715530"/>
                </a:lnTo>
                <a:lnTo>
                  <a:pt x="207525" y="715530"/>
                </a:lnTo>
                <a:lnTo>
                  <a:pt x="207525" y="624865"/>
                </a:lnTo>
                <a:lnTo>
                  <a:pt x="167717" y="705746"/>
                </a:lnTo>
                <a:lnTo>
                  <a:pt x="148792" y="705746"/>
                </a:lnTo>
                <a:lnTo>
                  <a:pt x="108983" y="624865"/>
                </a:lnTo>
                <a:lnTo>
                  <a:pt x="108983" y="715530"/>
                </a:lnTo>
                <a:lnTo>
                  <a:pt x="79617" y="715530"/>
                </a:lnTo>
                <a:lnTo>
                  <a:pt x="79617" y="567466"/>
                </a:lnTo>
                <a:close/>
                <a:moveTo>
                  <a:pt x="281921" y="715530"/>
                </a:moveTo>
                <a:lnTo>
                  <a:pt x="281921" y="567466"/>
                </a:lnTo>
                <a:lnTo>
                  <a:pt x="346528" y="567466"/>
                </a:lnTo>
                <a:cubicBezTo>
                  <a:pt x="378505" y="567466"/>
                  <a:pt x="399388" y="587034"/>
                  <a:pt x="399388" y="616386"/>
                </a:cubicBezTo>
                <a:cubicBezTo>
                  <a:pt x="399388" y="644433"/>
                  <a:pt x="378505" y="664653"/>
                  <a:pt x="346528" y="664653"/>
                </a:cubicBezTo>
                <a:lnTo>
                  <a:pt x="311288" y="664653"/>
                </a:lnTo>
                <a:lnTo>
                  <a:pt x="311288" y="715530"/>
                </a:lnTo>
                <a:lnTo>
                  <a:pt x="281921" y="715530"/>
                </a:lnTo>
                <a:close/>
                <a:moveTo>
                  <a:pt x="311288" y="639215"/>
                </a:moveTo>
                <a:lnTo>
                  <a:pt x="344570" y="639215"/>
                </a:lnTo>
                <a:cubicBezTo>
                  <a:pt x="360885" y="639215"/>
                  <a:pt x="369369" y="628779"/>
                  <a:pt x="369369" y="616386"/>
                </a:cubicBezTo>
                <a:cubicBezTo>
                  <a:pt x="369369" y="602688"/>
                  <a:pt x="360885" y="592905"/>
                  <a:pt x="344570" y="592905"/>
                </a:cubicBezTo>
                <a:lnTo>
                  <a:pt x="311288" y="592905"/>
                </a:lnTo>
                <a:lnTo>
                  <a:pt x="311288" y="639215"/>
                </a:lnTo>
                <a:close/>
                <a:moveTo>
                  <a:pt x="426144" y="641824"/>
                </a:moveTo>
                <a:cubicBezTo>
                  <a:pt x="426144" y="596818"/>
                  <a:pt x="458774" y="565510"/>
                  <a:pt x="503803" y="565510"/>
                </a:cubicBezTo>
                <a:cubicBezTo>
                  <a:pt x="548832" y="565510"/>
                  <a:pt x="581462" y="597470"/>
                  <a:pt x="581462" y="641824"/>
                </a:cubicBezTo>
                <a:cubicBezTo>
                  <a:pt x="581462" y="686830"/>
                  <a:pt x="548832" y="717486"/>
                  <a:pt x="503803" y="717486"/>
                </a:cubicBezTo>
                <a:cubicBezTo>
                  <a:pt x="458774" y="718139"/>
                  <a:pt x="426144" y="686830"/>
                  <a:pt x="426144" y="641824"/>
                </a:cubicBezTo>
                <a:close/>
                <a:moveTo>
                  <a:pt x="503803" y="690744"/>
                </a:moveTo>
                <a:cubicBezTo>
                  <a:pt x="531865" y="690744"/>
                  <a:pt x="551442" y="671176"/>
                  <a:pt x="551442" y="641824"/>
                </a:cubicBezTo>
                <a:cubicBezTo>
                  <a:pt x="551442" y="613125"/>
                  <a:pt x="531865" y="592905"/>
                  <a:pt x="503803" y="592905"/>
                </a:cubicBezTo>
                <a:cubicBezTo>
                  <a:pt x="476394" y="592905"/>
                  <a:pt x="456164" y="613125"/>
                  <a:pt x="456164" y="641824"/>
                </a:cubicBezTo>
                <a:cubicBezTo>
                  <a:pt x="456816" y="670523"/>
                  <a:pt x="476394" y="690744"/>
                  <a:pt x="503803" y="690744"/>
                </a:cubicBezTo>
                <a:close/>
                <a:moveTo>
                  <a:pt x="629754" y="667262"/>
                </a:moveTo>
                <a:cubicBezTo>
                  <a:pt x="636932" y="681612"/>
                  <a:pt x="649984" y="691396"/>
                  <a:pt x="667604" y="691396"/>
                </a:cubicBezTo>
                <a:cubicBezTo>
                  <a:pt x="681961" y="691396"/>
                  <a:pt x="693055" y="684221"/>
                  <a:pt x="693055" y="675089"/>
                </a:cubicBezTo>
                <a:cubicBezTo>
                  <a:pt x="693055" y="665305"/>
                  <a:pt x="681961" y="660087"/>
                  <a:pt x="664341" y="654217"/>
                </a:cubicBezTo>
                <a:cubicBezTo>
                  <a:pt x="635627" y="645085"/>
                  <a:pt x="612786" y="636606"/>
                  <a:pt x="612786" y="607907"/>
                </a:cubicBezTo>
                <a:cubicBezTo>
                  <a:pt x="612786" y="579859"/>
                  <a:pt x="640195" y="565510"/>
                  <a:pt x="664994" y="565510"/>
                </a:cubicBezTo>
                <a:cubicBezTo>
                  <a:pt x="691750" y="565510"/>
                  <a:pt x="710676" y="581164"/>
                  <a:pt x="719812" y="597470"/>
                </a:cubicBezTo>
                <a:lnTo>
                  <a:pt x="696971" y="613777"/>
                </a:lnTo>
                <a:cubicBezTo>
                  <a:pt x="690445" y="602688"/>
                  <a:pt x="680004" y="592252"/>
                  <a:pt x="664341" y="592252"/>
                </a:cubicBezTo>
                <a:cubicBezTo>
                  <a:pt x="652594" y="592252"/>
                  <a:pt x="642806" y="598123"/>
                  <a:pt x="642806" y="607907"/>
                </a:cubicBezTo>
                <a:cubicBezTo>
                  <a:pt x="642806" y="619647"/>
                  <a:pt x="653900" y="621604"/>
                  <a:pt x="672172" y="628127"/>
                </a:cubicBezTo>
                <a:cubicBezTo>
                  <a:pt x="700234" y="637910"/>
                  <a:pt x="723075" y="645738"/>
                  <a:pt x="723075" y="674437"/>
                </a:cubicBezTo>
                <a:cubicBezTo>
                  <a:pt x="723075" y="703789"/>
                  <a:pt x="693708" y="717486"/>
                  <a:pt x="666952" y="717486"/>
                </a:cubicBezTo>
                <a:cubicBezTo>
                  <a:pt x="638238" y="717486"/>
                  <a:pt x="616049" y="702484"/>
                  <a:pt x="607566" y="682264"/>
                </a:cubicBezTo>
                <a:lnTo>
                  <a:pt x="629754" y="667262"/>
                </a:lnTo>
                <a:close/>
                <a:moveTo>
                  <a:pt x="770714" y="667262"/>
                </a:moveTo>
                <a:cubicBezTo>
                  <a:pt x="777893" y="681612"/>
                  <a:pt x="790945" y="691396"/>
                  <a:pt x="808565" y="691396"/>
                </a:cubicBezTo>
                <a:cubicBezTo>
                  <a:pt x="822922" y="691396"/>
                  <a:pt x="834016" y="684221"/>
                  <a:pt x="834016" y="675089"/>
                </a:cubicBezTo>
                <a:cubicBezTo>
                  <a:pt x="834016" y="665305"/>
                  <a:pt x="822922" y="660087"/>
                  <a:pt x="805302" y="654217"/>
                </a:cubicBezTo>
                <a:cubicBezTo>
                  <a:pt x="776587" y="645085"/>
                  <a:pt x="753747" y="636606"/>
                  <a:pt x="753747" y="607907"/>
                </a:cubicBezTo>
                <a:cubicBezTo>
                  <a:pt x="753747" y="579859"/>
                  <a:pt x="781156" y="565510"/>
                  <a:pt x="805954" y="565510"/>
                </a:cubicBezTo>
                <a:cubicBezTo>
                  <a:pt x="832711" y="565510"/>
                  <a:pt x="851636" y="581164"/>
                  <a:pt x="860772" y="597470"/>
                </a:cubicBezTo>
                <a:lnTo>
                  <a:pt x="837931" y="613777"/>
                </a:lnTo>
                <a:cubicBezTo>
                  <a:pt x="831406" y="602688"/>
                  <a:pt x="820964" y="592252"/>
                  <a:pt x="805302" y="592252"/>
                </a:cubicBezTo>
                <a:cubicBezTo>
                  <a:pt x="793555" y="592252"/>
                  <a:pt x="783766" y="598123"/>
                  <a:pt x="783766" y="607907"/>
                </a:cubicBezTo>
                <a:cubicBezTo>
                  <a:pt x="783766" y="619647"/>
                  <a:pt x="794860" y="621604"/>
                  <a:pt x="813133" y="628127"/>
                </a:cubicBezTo>
                <a:cubicBezTo>
                  <a:pt x="841194" y="637910"/>
                  <a:pt x="864035" y="645738"/>
                  <a:pt x="864035" y="674437"/>
                </a:cubicBezTo>
                <a:cubicBezTo>
                  <a:pt x="864035" y="703789"/>
                  <a:pt x="834669" y="717486"/>
                  <a:pt x="807912" y="717486"/>
                </a:cubicBezTo>
                <a:cubicBezTo>
                  <a:pt x="779198" y="717486"/>
                  <a:pt x="757010" y="702484"/>
                  <a:pt x="748526" y="682264"/>
                </a:cubicBezTo>
                <a:lnTo>
                  <a:pt x="770714" y="667262"/>
                </a:lnTo>
                <a:close/>
                <a:moveTo>
                  <a:pt x="933863" y="715530"/>
                </a:moveTo>
                <a:lnTo>
                  <a:pt x="904496" y="715530"/>
                </a:lnTo>
                <a:lnTo>
                  <a:pt x="904496" y="567466"/>
                </a:lnTo>
                <a:lnTo>
                  <a:pt x="933863" y="567466"/>
                </a:lnTo>
                <a:lnTo>
                  <a:pt x="933863" y="715530"/>
                </a:lnTo>
                <a:close/>
                <a:moveTo>
                  <a:pt x="978892" y="567466"/>
                </a:moveTo>
                <a:lnTo>
                  <a:pt x="1047414" y="567466"/>
                </a:lnTo>
                <a:cubicBezTo>
                  <a:pt x="1074171" y="567466"/>
                  <a:pt x="1093096" y="583773"/>
                  <a:pt x="1093096" y="607907"/>
                </a:cubicBezTo>
                <a:cubicBezTo>
                  <a:pt x="1093096" y="617691"/>
                  <a:pt x="1087875" y="633345"/>
                  <a:pt x="1073518" y="638563"/>
                </a:cubicBezTo>
                <a:cubicBezTo>
                  <a:pt x="1089833" y="645085"/>
                  <a:pt x="1098316" y="658783"/>
                  <a:pt x="1098316" y="674437"/>
                </a:cubicBezTo>
                <a:cubicBezTo>
                  <a:pt x="1098316" y="698571"/>
                  <a:pt x="1079391" y="715530"/>
                  <a:pt x="1051982" y="715530"/>
                </a:cubicBezTo>
                <a:lnTo>
                  <a:pt x="978892" y="715530"/>
                </a:lnTo>
                <a:lnTo>
                  <a:pt x="978892" y="567466"/>
                </a:lnTo>
                <a:close/>
                <a:moveTo>
                  <a:pt x="1008258" y="592905"/>
                </a:moveTo>
                <a:lnTo>
                  <a:pt x="1008258" y="629431"/>
                </a:lnTo>
                <a:lnTo>
                  <a:pt x="1042846" y="629431"/>
                </a:lnTo>
                <a:cubicBezTo>
                  <a:pt x="1055245" y="629431"/>
                  <a:pt x="1062424" y="621604"/>
                  <a:pt x="1062424" y="611820"/>
                </a:cubicBezTo>
                <a:cubicBezTo>
                  <a:pt x="1062424" y="600079"/>
                  <a:pt x="1053940" y="593557"/>
                  <a:pt x="1042193" y="593557"/>
                </a:cubicBezTo>
                <a:lnTo>
                  <a:pt x="1008258" y="593557"/>
                </a:lnTo>
                <a:close/>
                <a:moveTo>
                  <a:pt x="1008258" y="652260"/>
                </a:moveTo>
                <a:lnTo>
                  <a:pt x="1008258" y="690744"/>
                </a:lnTo>
                <a:lnTo>
                  <a:pt x="1046762" y="690744"/>
                </a:lnTo>
                <a:cubicBezTo>
                  <a:pt x="1058508" y="690744"/>
                  <a:pt x="1066340" y="682917"/>
                  <a:pt x="1066340" y="672480"/>
                </a:cubicBezTo>
                <a:cubicBezTo>
                  <a:pt x="1066340" y="660087"/>
                  <a:pt x="1058508" y="652260"/>
                  <a:pt x="1046762" y="652260"/>
                </a:cubicBezTo>
                <a:lnTo>
                  <a:pt x="1008258" y="652260"/>
                </a:lnTo>
                <a:close/>
                <a:moveTo>
                  <a:pt x="1247108" y="715530"/>
                </a:moveTo>
                <a:lnTo>
                  <a:pt x="1137472" y="715530"/>
                </a:lnTo>
                <a:lnTo>
                  <a:pt x="1137472" y="567466"/>
                </a:lnTo>
                <a:lnTo>
                  <a:pt x="1166839" y="567466"/>
                </a:lnTo>
                <a:lnTo>
                  <a:pt x="1166839" y="690091"/>
                </a:lnTo>
                <a:lnTo>
                  <a:pt x="1246455" y="690091"/>
                </a:lnTo>
                <a:lnTo>
                  <a:pt x="1246455" y="715530"/>
                </a:lnTo>
                <a:close/>
                <a:moveTo>
                  <a:pt x="1281043" y="567466"/>
                </a:moveTo>
                <a:lnTo>
                  <a:pt x="1386763" y="567466"/>
                </a:lnTo>
                <a:lnTo>
                  <a:pt x="1386763" y="592905"/>
                </a:lnTo>
                <a:lnTo>
                  <a:pt x="1311062" y="592905"/>
                </a:lnTo>
                <a:lnTo>
                  <a:pt x="1311062" y="626822"/>
                </a:lnTo>
                <a:lnTo>
                  <a:pt x="1376974" y="626822"/>
                </a:lnTo>
                <a:lnTo>
                  <a:pt x="1376974" y="652260"/>
                </a:lnTo>
                <a:lnTo>
                  <a:pt x="1311062" y="652260"/>
                </a:lnTo>
                <a:lnTo>
                  <a:pt x="1311062" y="690091"/>
                </a:lnTo>
                <a:lnTo>
                  <a:pt x="1388721" y="690091"/>
                </a:lnTo>
                <a:lnTo>
                  <a:pt x="1388721" y="715530"/>
                </a:lnTo>
                <a:lnTo>
                  <a:pt x="1281696" y="715530"/>
                </a:lnTo>
                <a:lnTo>
                  <a:pt x="1281696" y="567466"/>
                </a:lnTo>
                <a:close/>
                <a:moveTo>
                  <a:pt x="1504230" y="715530"/>
                </a:moveTo>
                <a:lnTo>
                  <a:pt x="1504230" y="567466"/>
                </a:lnTo>
                <a:lnTo>
                  <a:pt x="1530987" y="567466"/>
                </a:lnTo>
                <a:lnTo>
                  <a:pt x="1613214" y="669219"/>
                </a:lnTo>
                <a:lnTo>
                  <a:pt x="1613214" y="567466"/>
                </a:lnTo>
                <a:lnTo>
                  <a:pt x="1642580" y="567466"/>
                </a:lnTo>
                <a:lnTo>
                  <a:pt x="1642580" y="715530"/>
                </a:lnTo>
                <a:lnTo>
                  <a:pt x="1615171" y="715530"/>
                </a:lnTo>
                <a:lnTo>
                  <a:pt x="1533597" y="615081"/>
                </a:lnTo>
                <a:lnTo>
                  <a:pt x="1533597" y="715530"/>
                </a:lnTo>
                <a:lnTo>
                  <a:pt x="1504230" y="715530"/>
                </a:lnTo>
                <a:close/>
                <a:moveTo>
                  <a:pt x="1682388" y="641824"/>
                </a:moveTo>
                <a:cubicBezTo>
                  <a:pt x="1682388" y="596818"/>
                  <a:pt x="1715018" y="565510"/>
                  <a:pt x="1760047" y="565510"/>
                </a:cubicBezTo>
                <a:cubicBezTo>
                  <a:pt x="1805077" y="565510"/>
                  <a:pt x="1837706" y="597470"/>
                  <a:pt x="1837706" y="641824"/>
                </a:cubicBezTo>
                <a:cubicBezTo>
                  <a:pt x="1837706" y="686830"/>
                  <a:pt x="1805077" y="717486"/>
                  <a:pt x="1760047" y="717486"/>
                </a:cubicBezTo>
                <a:cubicBezTo>
                  <a:pt x="1715018" y="718139"/>
                  <a:pt x="1682388" y="686830"/>
                  <a:pt x="1682388" y="641824"/>
                </a:cubicBezTo>
                <a:close/>
                <a:moveTo>
                  <a:pt x="1760047" y="690744"/>
                </a:moveTo>
                <a:cubicBezTo>
                  <a:pt x="1788109" y="690744"/>
                  <a:pt x="1807687" y="671176"/>
                  <a:pt x="1807687" y="641824"/>
                </a:cubicBezTo>
                <a:cubicBezTo>
                  <a:pt x="1807687" y="613125"/>
                  <a:pt x="1788109" y="592905"/>
                  <a:pt x="1760047" y="592905"/>
                </a:cubicBezTo>
                <a:cubicBezTo>
                  <a:pt x="1732638" y="592905"/>
                  <a:pt x="1712408" y="613125"/>
                  <a:pt x="1712408" y="641824"/>
                </a:cubicBezTo>
                <a:cubicBezTo>
                  <a:pt x="1712408" y="670523"/>
                  <a:pt x="1732638" y="690744"/>
                  <a:pt x="1760047" y="690744"/>
                </a:cubicBezTo>
                <a:close/>
                <a:moveTo>
                  <a:pt x="1954520" y="567466"/>
                </a:moveTo>
                <a:lnTo>
                  <a:pt x="1985845" y="567466"/>
                </a:lnTo>
                <a:lnTo>
                  <a:pt x="2033485" y="665958"/>
                </a:lnTo>
                <a:lnTo>
                  <a:pt x="2081124" y="567466"/>
                </a:lnTo>
                <a:lnTo>
                  <a:pt x="2112448" y="567466"/>
                </a:lnTo>
                <a:lnTo>
                  <a:pt x="2112448" y="715530"/>
                </a:lnTo>
                <a:lnTo>
                  <a:pt x="2083082" y="715530"/>
                </a:lnTo>
                <a:lnTo>
                  <a:pt x="2083082" y="624865"/>
                </a:lnTo>
                <a:lnTo>
                  <a:pt x="2043274" y="705746"/>
                </a:lnTo>
                <a:lnTo>
                  <a:pt x="2024348" y="705746"/>
                </a:lnTo>
                <a:lnTo>
                  <a:pt x="1984540" y="624865"/>
                </a:lnTo>
                <a:lnTo>
                  <a:pt x="1984540" y="715530"/>
                </a:lnTo>
                <a:lnTo>
                  <a:pt x="1955173" y="715530"/>
                </a:lnTo>
                <a:lnTo>
                  <a:pt x="1955173" y="567466"/>
                </a:lnTo>
                <a:close/>
                <a:moveTo>
                  <a:pt x="2152257" y="641824"/>
                </a:moveTo>
                <a:cubicBezTo>
                  <a:pt x="2152257" y="596818"/>
                  <a:pt x="2184886" y="565510"/>
                  <a:pt x="2229915" y="565510"/>
                </a:cubicBezTo>
                <a:cubicBezTo>
                  <a:pt x="2274945" y="565510"/>
                  <a:pt x="2307574" y="597470"/>
                  <a:pt x="2307574" y="641824"/>
                </a:cubicBezTo>
                <a:cubicBezTo>
                  <a:pt x="2307574" y="686830"/>
                  <a:pt x="2274945" y="717486"/>
                  <a:pt x="2229915" y="717486"/>
                </a:cubicBezTo>
                <a:cubicBezTo>
                  <a:pt x="2184886" y="718139"/>
                  <a:pt x="2152257" y="686830"/>
                  <a:pt x="2152257" y="641824"/>
                </a:cubicBezTo>
                <a:close/>
                <a:moveTo>
                  <a:pt x="2229915" y="690744"/>
                </a:moveTo>
                <a:cubicBezTo>
                  <a:pt x="2257977" y="690744"/>
                  <a:pt x="2277555" y="671176"/>
                  <a:pt x="2277555" y="641824"/>
                </a:cubicBezTo>
                <a:cubicBezTo>
                  <a:pt x="2277555" y="613125"/>
                  <a:pt x="2257977" y="592905"/>
                  <a:pt x="2229915" y="592905"/>
                </a:cubicBezTo>
                <a:cubicBezTo>
                  <a:pt x="2202506" y="592905"/>
                  <a:pt x="2182276" y="613125"/>
                  <a:pt x="2182276" y="641824"/>
                </a:cubicBezTo>
                <a:cubicBezTo>
                  <a:pt x="2182276" y="670523"/>
                  <a:pt x="2202506" y="690744"/>
                  <a:pt x="2229915" y="690744"/>
                </a:cubicBezTo>
                <a:close/>
                <a:moveTo>
                  <a:pt x="2342814" y="715530"/>
                </a:moveTo>
                <a:lnTo>
                  <a:pt x="2342814" y="567466"/>
                </a:lnTo>
                <a:lnTo>
                  <a:pt x="2408074" y="567466"/>
                </a:lnTo>
                <a:cubicBezTo>
                  <a:pt x="2440051" y="567466"/>
                  <a:pt x="2460934" y="586382"/>
                  <a:pt x="2460934" y="615081"/>
                </a:cubicBezTo>
                <a:cubicBezTo>
                  <a:pt x="2460934" y="633997"/>
                  <a:pt x="2450492" y="649651"/>
                  <a:pt x="2433525" y="656826"/>
                </a:cubicBezTo>
                <a:lnTo>
                  <a:pt x="2466807" y="715530"/>
                </a:lnTo>
                <a:lnTo>
                  <a:pt x="2434177" y="715530"/>
                </a:lnTo>
                <a:lnTo>
                  <a:pt x="2404158" y="661392"/>
                </a:lnTo>
                <a:lnTo>
                  <a:pt x="2372181" y="661392"/>
                </a:lnTo>
                <a:lnTo>
                  <a:pt x="2372181" y="714877"/>
                </a:lnTo>
                <a:lnTo>
                  <a:pt x="2342814" y="714877"/>
                </a:lnTo>
                <a:close/>
                <a:moveTo>
                  <a:pt x="2372181" y="635954"/>
                </a:moveTo>
                <a:lnTo>
                  <a:pt x="2406116" y="635954"/>
                </a:lnTo>
                <a:cubicBezTo>
                  <a:pt x="2422431" y="635954"/>
                  <a:pt x="2430914" y="626170"/>
                  <a:pt x="2430914" y="615081"/>
                </a:cubicBezTo>
                <a:cubicBezTo>
                  <a:pt x="2430914" y="602688"/>
                  <a:pt x="2422431" y="592905"/>
                  <a:pt x="2406116" y="592905"/>
                </a:cubicBezTo>
                <a:lnTo>
                  <a:pt x="2372181" y="592905"/>
                </a:lnTo>
                <a:lnTo>
                  <a:pt x="2372181" y="635954"/>
                </a:lnTo>
                <a:close/>
                <a:moveTo>
                  <a:pt x="2503353" y="567466"/>
                </a:moveTo>
                <a:lnTo>
                  <a:pt x="2609073" y="567466"/>
                </a:lnTo>
                <a:lnTo>
                  <a:pt x="2609073" y="592905"/>
                </a:lnTo>
                <a:lnTo>
                  <a:pt x="2533372" y="592905"/>
                </a:lnTo>
                <a:lnTo>
                  <a:pt x="2533372" y="626822"/>
                </a:lnTo>
                <a:lnTo>
                  <a:pt x="2598631" y="626822"/>
                </a:lnTo>
                <a:lnTo>
                  <a:pt x="2598631" y="652260"/>
                </a:lnTo>
                <a:lnTo>
                  <a:pt x="2532719" y="652260"/>
                </a:lnTo>
                <a:lnTo>
                  <a:pt x="2532719" y="690091"/>
                </a:lnTo>
                <a:lnTo>
                  <a:pt x="2610378" y="690091"/>
                </a:lnTo>
                <a:lnTo>
                  <a:pt x="2610378" y="715530"/>
                </a:lnTo>
                <a:lnTo>
                  <a:pt x="2503353" y="715530"/>
                </a:lnTo>
                <a:lnTo>
                  <a:pt x="2503353" y="567466"/>
                </a:lnTo>
                <a:close/>
              </a:path>
            </a:pathLst>
          </a:custGeom>
          <a:solidFill>
            <a:schemeClr val="bg1"/>
          </a:solidFill>
          <a:ln w="6526" cap="flat">
            <a:noFill/>
            <a:prstDash val="solid"/>
            <a:miter/>
          </a:ln>
        </p:spPr>
        <p:txBody>
          <a:bodyPr rtlCol="0" anchor="ctr"/>
          <a:lstStyle/>
          <a:p>
            <a:pPr marL="0" indent="0">
              <a:tabLst>
                <a:tab pos="755650" algn="l"/>
              </a:tabLst>
            </a:pPr>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D244679D-DEC6-0DBD-6430-4B20084B780B}"/>
              </a:ext>
            </a:extLst>
          </p:cNvPr>
          <p:cNvSpPr/>
          <p:nvPr userDrawn="1"/>
        </p:nvSpPr>
        <p:spPr>
          <a:xfrm>
            <a:off x="336794" y="370317"/>
            <a:ext cx="8002276" cy="3461147"/>
          </a:xfrm>
          <a:prstGeom prst="rect">
            <a:avLst/>
          </a:prstGeom>
          <a:solidFill>
            <a:schemeClr val="tx1">
              <a:alpha val="40202"/>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sp>
        <p:nvSpPr>
          <p:cNvPr id="3" name="Title 11">
            <a:extLst>
              <a:ext uri="{FF2B5EF4-FFF2-40B4-BE49-F238E27FC236}">
                <a16:creationId xmlns:a16="http://schemas.microsoft.com/office/drawing/2014/main" id="{6922242D-A4C0-F86F-586D-0ADACD9CD5FD}"/>
              </a:ext>
            </a:extLst>
          </p:cNvPr>
          <p:cNvSpPr>
            <a:spLocks noGrp="1"/>
          </p:cNvSpPr>
          <p:nvPr>
            <p:ph type="title" hasCustomPrompt="1"/>
          </p:nvPr>
        </p:nvSpPr>
        <p:spPr>
          <a:xfrm>
            <a:off x="690880" y="766989"/>
            <a:ext cx="7268264" cy="1551194"/>
          </a:xfrm>
        </p:spPr>
        <p:txBody>
          <a:bodyPr vert="horz" wrap="square" lIns="0" tIns="0" rIns="0" bIns="0" rtlCol="0" anchor="t" anchorCtr="0">
            <a:spAutoFit/>
          </a:bodyPr>
          <a:lstStyle>
            <a:lvl1pPr>
              <a:defRPr lang="en-GB" sz="400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da-DK" dirty="0"/>
              <a:t>Title - &lt;please replace background with image from library&gt; </a:t>
            </a:r>
          </a:p>
        </p:txBody>
      </p:sp>
      <p:sp>
        <p:nvSpPr>
          <p:cNvPr id="8" name="Text Placeholder 16">
            <a:extLst>
              <a:ext uri="{FF2B5EF4-FFF2-40B4-BE49-F238E27FC236}">
                <a16:creationId xmlns:a16="http://schemas.microsoft.com/office/drawing/2014/main" id="{B17FA5BB-72A3-7913-67BD-60A88A813D24}"/>
              </a:ext>
            </a:extLst>
          </p:cNvPr>
          <p:cNvSpPr>
            <a:spLocks noGrp="1"/>
          </p:cNvSpPr>
          <p:nvPr>
            <p:ph type="body" sz="quarter" idx="13" hasCustomPrompt="1"/>
          </p:nvPr>
        </p:nvSpPr>
        <p:spPr>
          <a:xfrm>
            <a:off x="699554" y="2069845"/>
            <a:ext cx="7268264" cy="313932"/>
          </a:xfrm>
          <a:prstGeom prst="rect">
            <a:avLst/>
          </a:prstGeom>
        </p:spPr>
        <p:txBody>
          <a:bodyPr vert="horz" wrap="square" lIns="0" tIns="0" rIns="0" bIns="0" rtlCol="0" anchor="t" anchorCtr="0">
            <a:spAutoFit/>
          </a:bodyPr>
          <a:lstStyle>
            <a:lvl1pPr>
              <a:defRPr lang="en-US" sz="2400" b="0" cap="none" dirty="0">
                <a:solidFill>
                  <a:schemeClr val="bg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Subtitle</a:t>
            </a:r>
          </a:p>
        </p:txBody>
      </p:sp>
      <p:sp>
        <p:nvSpPr>
          <p:cNvPr id="9" name="Text Placeholder 16">
            <a:extLst>
              <a:ext uri="{FF2B5EF4-FFF2-40B4-BE49-F238E27FC236}">
                <a16:creationId xmlns:a16="http://schemas.microsoft.com/office/drawing/2014/main" id="{7F261D25-2507-E7C0-B06D-96FE3BD4D7CE}"/>
              </a:ext>
            </a:extLst>
          </p:cNvPr>
          <p:cNvSpPr>
            <a:spLocks noGrp="1"/>
          </p:cNvSpPr>
          <p:nvPr>
            <p:ph type="body" sz="quarter" idx="14" hasCustomPrompt="1"/>
          </p:nvPr>
        </p:nvSpPr>
        <p:spPr>
          <a:xfrm>
            <a:off x="699554" y="2956561"/>
            <a:ext cx="7268264" cy="313932"/>
          </a:xfrm>
          <a:prstGeom prst="rect">
            <a:avLst/>
          </a:prstGeom>
        </p:spPr>
        <p:txBody>
          <a:bodyPr vert="horz" wrap="square" lIns="0" tIns="0" rIns="0" bIns="0" rtlCol="0" anchor="t" anchorCtr="0">
            <a:spAutoFit/>
          </a:bodyPr>
          <a:lstStyle>
            <a:lvl1pPr>
              <a:defRPr lang="en-US" sz="2400" b="0" cap="none" dirty="0">
                <a:solidFill>
                  <a:schemeClr val="bg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Date</a:t>
            </a:r>
          </a:p>
        </p:txBody>
      </p:sp>
    </p:spTree>
    <p:extLst>
      <p:ext uri="{BB962C8B-B14F-4D97-AF65-F5344CB8AC3E}">
        <p14:creationId xmlns:p14="http://schemas.microsoft.com/office/powerpoint/2010/main" val="395224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C74E01-9C96-1AA1-2A41-58CD095BB4F9}"/>
              </a:ext>
            </a:extLst>
          </p:cNvPr>
          <p:cNvGraphicFramePr>
            <a:graphicFrameLocks noChangeAspect="1"/>
          </p:cNvGraphicFramePr>
          <p:nvPr userDrawn="1">
            <p:custDataLst>
              <p:tags r:id="rId1"/>
            </p:custDataLst>
            <p:extLst>
              <p:ext uri="{D42A27DB-BD31-4B8C-83A1-F6EECF244321}">
                <p14:modId xmlns:p14="http://schemas.microsoft.com/office/powerpoint/2010/main" val="2830572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F8C74E01-9C96-1AA1-2A41-58CD095BB4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6027B08-C268-556E-F827-F45C9D54A407}"/>
              </a:ext>
            </a:extLst>
          </p:cNvPr>
          <p:cNvSpPr/>
          <p:nvPr userDrawn="1"/>
        </p:nvSpPr>
        <p:spPr>
          <a:xfrm>
            <a:off x="0" y="0"/>
            <a:ext cx="60967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1" name="Graphic 8">
            <a:extLst>
              <a:ext uri="{FF2B5EF4-FFF2-40B4-BE49-F238E27FC236}">
                <a16:creationId xmlns:a16="http://schemas.microsoft.com/office/drawing/2014/main" id="{C2493AD6-B282-A333-C0A5-B02E67CAEA82}"/>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4" name="Text Placeholder 7">
            <a:extLst>
              <a:ext uri="{FF2B5EF4-FFF2-40B4-BE49-F238E27FC236}">
                <a16:creationId xmlns:a16="http://schemas.microsoft.com/office/drawing/2014/main" id="{8237D115-E224-FB9C-BF78-CBDDF61160CB}"/>
              </a:ext>
            </a:extLst>
          </p:cNvPr>
          <p:cNvSpPr>
            <a:spLocks noGrp="1"/>
          </p:cNvSpPr>
          <p:nvPr>
            <p:ph type="body" sz="quarter" idx="57" hasCustomPrompt="1"/>
          </p:nvPr>
        </p:nvSpPr>
        <p:spPr>
          <a:xfrm>
            <a:off x="6348413" y="493519"/>
            <a:ext cx="5292725" cy="430887"/>
          </a:xfrm>
          <a:prstGeom prst="rect">
            <a:avLst/>
          </a:prstGeom>
          <a:noFill/>
        </p:spPr>
        <p:txBody>
          <a:bodyPr vert="horz" wrap="square" lIns="0" tIns="0" rIns="0" bIns="0" rtlCol="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defTabSz="228600">
              <a:lnSpc>
                <a:spcPct val="100000"/>
              </a:lnSpc>
              <a:spcBef>
                <a:spcPct val="0"/>
              </a:spcBef>
            </a:pPr>
            <a:r>
              <a:rPr lang="en-US"/>
              <a:t>[Optional – Heading]</a:t>
            </a:r>
          </a:p>
        </p:txBody>
      </p:sp>
      <p:sp>
        <p:nvSpPr>
          <p:cNvPr id="17" name="Text Placeholder 2">
            <a:extLst>
              <a:ext uri="{FF2B5EF4-FFF2-40B4-BE49-F238E27FC236}">
                <a16:creationId xmlns:a16="http://schemas.microsoft.com/office/drawing/2014/main" id="{778632DF-757A-D0C3-06FA-8F9ABB37EA19}"/>
              </a:ext>
            </a:extLst>
          </p:cNvPr>
          <p:cNvSpPr>
            <a:spLocks noGrp="1"/>
          </p:cNvSpPr>
          <p:nvPr>
            <p:ph type="body" sz="quarter" idx="18" hasCustomPrompt="1"/>
          </p:nvPr>
        </p:nvSpPr>
        <p:spPr>
          <a:xfrm>
            <a:off x="6348413" y="6493073"/>
            <a:ext cx="4156569"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18" name="Text Placeholder 2">
            <a:extLst>
              <a:ext uri="{FF2B5EF4-FFF2-40B4-BE49-F238E27FC236}">
                <a16:creationId xmlns:a16="http://schemas.microsoft.com/office/drawing/2014/main" id="{F9F454A0-DDD4-A034-798F-40432A940915}"/>
              </a:ext>
            </a:extLst>
          </p:cNvPr>
          <p:cNvSpPr>
            <a:spLocks noGrp="1"/>
          </p:cNvSpPr>
          <p:nvPr>
            <p:ph type="body" sz="quarter" idx="19" hasCustomPrompt="1"/>
          </p:nvPr>
        </p:nvSpPr>
        <p:spPr>
          <a:xfrm>
            <a:off x="6348413" y="6623050"/>
            <a:ext cx="4156569"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19" name="TextBox 18">
            <a:extLst>
              <a:ext uri="{FF2B5EF4-FFF2-40B4-BE49-F238E27FC236}">
                <a16:creationId xmlns:a16="http://schemas.microsoft.com/office/drawing/2014/main" id="{E98BDC7B-7D36-C533-CD91-F9452CE628C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20" name="TextBox 19">
            <a:extLst>
              <a:ext uri="{FF2B5EF4-FFF2-40B4-BE49-F238E27FC236}">
                <a16:creationId xmlns:a16="http://schemas.microsoft.com/office/drawing/2014/main" id="{2C7C0672-2FA2-A9F1-C63A-F71D78E88307}"/>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4" name="Text Placeholder 18">
            <a:extLst>
              <a:ext uri="{FF2B5EF4-FFF2-40B4-BE49-F238E27FC236}">
                <a16:creationId xmlns:a16="http://schemas.microsoft.com/office/drawing/2014/main" id="{DA1C04B8-63E5-36D8-B8C7-067FFC7D6978}"/>
              </a:ext>
            </a:extLst>
          </p:cNvPr>
          <p:cNvSpPr>
            <a:spLocks noGrp="1"/>
          </p:cNvSpPr>
          <p:nvPr>
            <p:ph type="body" sz="quarter" idx="21" hasCustomPrompt="1"/>
          </p:nvPr>
        </p:nvSpPr>
        <p:spPr>
          <a:xfrm>
            <a:off x="552450" y="127228"/>
            <a:ext cx="2814638" cy="153888"/>
          </a:xfrm>
          <a:prstGeom prst="rect">
            <a:avLst/>
          </a:prstGeom>
        </p:spPr>
        <p:txBody>
          <a:bodyPr wrap="square" lIns="0" tIns="0" rIns="0" bIns="0">
            <a:spAutoFit/>
          </a:bodyPr>
          <a:lstStyle>
            <a:lvl1pPr>
              <a:defRPr lang="en-US" sz="10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pPr>
            <a:r>
              <a:rPr lang="en-US"/>
              <a:t>Section</a:t>
            </a:r>
          </a:p>
        </p:txBody>
      </p:sp>
      <p:sp>
        <p:nvSpPr>
          <p:cNvPr id="2" name="Title 10">
            <a:extLst>
              <a:ext uri="{FF2B5EF4-FFF2-40B4-BE49-F238E27FC236}">
                <a16:creationId xmlns:a16="http://schemas.microsoft.com/office/drawing/2014/main" id="{073C2280-B367-0698-306A-E1C135D810B4}"/>
              </a:ext>
            </a:extLst>
          </p:cNvPr>
          <p:cNvSpPr>
            <a:spLocks noGrp="1"/>
          </p:cNvSpPr>
          <p:nvPr>
            <p:ph type="title" hasCustomPrompt="1"/>
          </p:nvPr>
        </p:nvSpPr>
        <p:spPr>
          <a:xfrm>
            <a:off x="552450" y="493518"/>
            <a:ext cx="5270111"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indent="0" defTabSz="228600">
              <a:buFont typeface="Arial" panose="020B0604020202020204" pitchFamily="34" charset="0"/>
            </a:pPr>
            <a:r>
              <a:rPr lang="en-US"/>
              <a:t>Slide Title</a:t>
            </a:r>
          </a:p>
        </p:txBody>
      </p:sp>
    </p:spTree>
    <p:extLst>
      <p:ext uri="{BB962C8B-B14F-4D97-AF65-F5344CB8AC3E}">
        <p14:creationId xmlns:p14="http://schemas.microsoft.com/office/powerpoint/2010/main" val="1119114432"/>
      </p:ext>
    </p:extLst>
  </p:cSld>
  <p:clrMapOvr>
    <a:masterClrMapping/>
  </p:clrMapOvr>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3">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B9401F-2EB1-9C2D-8A61-0732AC01B5F4}"/>
              </a:ext>
            </a:extLst>
          </p:cNvPr>
          <p:cNvGraphicFramePr>
            <a:graphicFrameLocks noChangeAspect="1"/>
          </p:cNvGraphicFramePr>
          <p:nvPr userDrawn="1">
            <p:custDataLst>
              <p:tags r:id="rId1"/>
            </p:custDataLst>
            <p:extLst>
              <p:ext uri="{D42A27DB-BD31-4B8C-83A1-F6EECF244321}">
                <p14:modId xmlns:p14="http://schemas.microsoft.com/office/powerpoint/2010/main" val="413016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05B9401F-2EB1-9C2D-8A61-0732AC01B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9F29327-316B-62D7-6BC9-27DE9F0BB32E}"/>
              </a:ext>
            </a:extLst>
          </p:cNvPr>
          <p:cNvSpPr/>
          <p:nvPr userDrawn="1"/>
        </p:nvSpPr>
        <p:spPr>
          <a:xfrm>
            <a:off x="0" y="0"/>
            <a:ext cx="8024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 name="Text Placeholder 13">
            <a:extLst>
              <a:ext uri="{FF2B5EF4-FFF2-40B4-BE49-F238E27FC236}">
                <a16:creationId xmlns:a16="http://schemas.microsoft.com/office/drawing/2014/main" id="{5CADBA51-9A50-B88C-1D9D-033D4D9BC52E}"/>
              </a:ext>
            </a:extLst>
          </p:cNvPr>
          <p:cNvSpPr>
            <a:spLocks noGrp="1"/>
          </p:cNvSpPr>
          <p:nvPr>
            <p:ph type="body" sz="quarter" idx="58" hasCustomPrompt="1"/>
          </p:nvPr>
        </p:nvSpPr>
        <p:spPr>
          <a:xfrm>
            <a:off x="8276400" y="492125"/>
            <a:ext cx="3326790" cy="430887"/>
          </a:xfrm>
          <a:prstGeom prst="rect">
            <a:avLst/>
          </a:prstGeom>
          <a:noFill/>
        </p:spPr>
        <p:txBody>
          <a:bodyPr vert="horz" wrap="square" lIns="0" tIns="0" rIns="0" bIns="0" rtlCol="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defTabSz="228600">
              <a:lnSpc>
                <a:spcPct val="100000"/>
              </a:lnSpc>
              <a:spcBef>
                <a:spcPct val="0"/>
              </a:spcBef>
            </a:pPr>
            <a:r>
              <a:rPr lang="en-US"/>
              <a:t>Conclusion</a:t>
            </a:r>
          </a:p>
        </p:txBody>
      </p:sp>
      <p:sp>
        <p:nvSpPr>
          <p:cNvPr id="4" name="Graphic 8">
            <a:extLst>
              <a:ext uri="{FF2B5EF4-FFF2-40B4-BE49-F238E27FC236}">
                <a16:creationId xmlns:a16="http://schemas.microsoft.com/office/drawing/2014/main" id="{8313C5A4-0B29-440E-3CDD-9C9394AA8325}"/>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2B4D6061-116A-AC4A-B2E6-305996AEC30B}"/>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7" name="TextBox 6">
            <a:extLst>
              <a:ext uri="{FF2B5EF4-FFF2-40B4-BE49-F238E27FC236}">
                <a16:creationId xmlns:a16="http://schemas.microsoft.com/office/drawing/2014/main" id="{2C9EECF7-FA20-03CE-8243-4E43160C49A2}"/>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1" name="Text Placeholder 18">
            <a:extLst>
              <a:ext uri="{FF2B5EF4-FFF2-40B4-BE49-F238E27FC236}">
                <a16:creationId xmlns:a16="http://schemas.microsoft.com/office/drawing/2014/main" id="{598C0F2A-4DE2-4741-6629-DDB7D3EFECD3}"/>
              </a:ext>
            </a:extLst>
          </p:cNvPr>
          <p:cNvSpPr>
            <a:spLocks noGrp="1"/>
          </p:cNvSpPr>
          <p:nvPr>
            <p:ph type="body" sz="quarter" idx="21" hasCustomPrompt="1"/>
          </p:nvPr>
        </p:nvSpPr>
        <p:spPr>
          <a:xfrm>
            <a:off x="552450" y="127228"/>
            <a:ext cx="2814638" cy="153888"/>
          </a:xfrm>
          <a:prstGeom prst="rect">
            <a:avLst/>
          </a:prstGeom>
        </p:spPr>
        <p:txBody>
          <a:bodyPr wrap="square" lIns="0" tIns="0" rIns="0" bIns="0">
            <a:spAutoFit/>
          </a:bodyPr>
          <a:lstStyle>
            <a:lvl1pPr>
              <a:defRPr lang="en-US" sz="10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pPr>
            <a:r>
              <a:rPr lang="en-US"/>
              <a:t>Section</a:t>
            </a:r>
          </a:p>
        </p:txBody>
      </p:sp>
      <p:sp>
        <p:nvSpPr>
          <p:cNvPr id="12" name="Text Placeholder 2">
            <a:extLst>
              <a:ext uri="{FF2B5EF4-FFF2-40B4-BE49-F238E27FC236}">
                <a16:creationId xmlns:a16="http://schemas.microsoft.com/office/drawing/2014/main" id="{D4CCDD35-9EB6-F358-DB9B-59626DE55E15}"/>
              </a:ext>
            </a:extLst>
          </p:cNvPr>
          <p:cNvSpPr>
            <a:spLocks noGrp="1"/>
          </p:cNvSpPr>
          <p:nvPr>
            <p:ph type="body" sz="quarter" idx="18" hasCustomPrompt="1"/>
          </p:nvPr>
        </p:nvSpPr>
        <p:spPr>
          <a:xfrm>
            <a:off x="1117901" y="6493073"/>
            <a:ext cx="6470347"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13" name="Text Placeholder 2">
            <a:extLst>
              <a:ext uri="{FF2B5EF4-FFF2-40B4-BE49-F238E27FC236}">
                <a16:creationId xmlns:a16="http://schemas.microsoft.com/office/drawing/2014/main" id="{45744A89-A7BA-E970-16A5-24B7FF9324D4}"/>
              </a:ext>
            </a:extLst>
          </p:cNvPr>
          <p:cNvSpPr>
            <a:spLocks noGrp="1"/>
          </p:cNvSpPr>
          <p:nvPr>
            <p:ph type="body" sz="quarter" idx="19" hasCustomPrompt="1"/>
          </p:nvPr>
        </p:nvSpPr>
        <p:spPr>
          <a:xfrm>
            <a:off x="1117901" y="6623050"/>
            <a:ext cx="6470347"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2" name="Title 10">
            <a:extLst>
              <a:ext uri="{FF2B5EF4-FFF2-40B4-BE49-F238E27FC236}">
                <a16:creationId xmlns:a16="http://schemas.microsoft.com/office/drawing/2014/main" id="{DDE6B022-D3F6-D19E-C51A-5EBAE39EAEC4}"/>
              </a:ext>
            </a:extLst>
          </p:cNvPr>
          <p:cNvSpPr>
            <a:spLocks noGrp="1"/>
          </p:cNvSpPr>
          <p:nvPr>
            <p:ph type="title" hasCustomPrompt="1"/>
          </p:nvPr>
        </p:nvSpPr>
        <p:spPr>
          <a:xfrm>
            <a:off x="552450" y="493518"/>
            <a:ext cx="7207117"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indent="0" defTabSz="228600">
              <a:buFont typeface="Arial" panose="020B0604020202020204" pitchFamily="34" charset="0"/>
            </a:pPr>
            <a:r>
              <a:rPr lang="en-US"/>
              <a:t>Slide Title</a:t>
            </a:r>
          </a:p>
        </p:txBody>
      </p:sp>
    </p:spTree>
    <p:extLst>
      <p:ext uri="{BB962C8B-B14F-4D97-AF65-F5344CB8AC3E}">
        <p14:creationId xmlns:p14="http://schemas.microsoft.com/office/powerpoint/2010/main" val="1580370771"/>
      </p:ext>
    </p:extLst>
  </p:cSld>
  <p:clrMapOvr>
    <a:masterClrMapping/>
  </p:clrMapOvr>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4">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B9401F-2EB1-9C2D-8A61-0732AC01B5F4}"/>
              </a:ext>
            </a:extLst>
          </p:cNvPr>
          <p:cNvGraphicFramePr>
            <a:graphicFrameLocks noChangeAspect="1"/>
          </p:cNvGraphicFramePr>
          <p:nvPr userDrawn="1">
            <p:custDataLst>
              <p:tags r:id="rId1"/>
            </p:custDataLst>
            <p:extLst>
              <p:ext uri="{D42A27DB-BD31-4B8C-83A1-F6EECF244321}">
                <p14:modId xmlns:p14="http://schemas.microsoft.com/office/powerpoint/2010/main" val="22689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05B9401F-2EB1-9C2D-8A61-0732AC01B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EB204C0-DCB7-67B8-EFCE-F5CF1371795F}"/>
              </a:ext>
            </a:extLst>
          </p:cNvPr>
          <p:cNvSpPr/>
          <p:nvPr userDrawn="1"/>
        </p:nvSpPr>
        <p:spPr>
          <a:xfrm>
            <a:off x="0" y="0"/>
            <a:ext cx="91455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 name="Text Placeholder 13">
            <a:extLst>
              <a:ext uri="{FF2B5EF4-FFF2-40B4-BE49-F238E27FC236}">
                <a16:creationId xmlns:a16="http://schemas.microsoft.com/office/drawing/2014/main" id="{5CADBA51-9A50-B88C-1D9D-033D4D9BC52E}"/>
              </a:ext>
            </a:extLst>
          </p:cNvPr>
          <p:cNvSpPr>
            <a:spLocks noGrp="1"/>
          </p:cNvSpPr>
          <p:nvPr>
            <p:ph type="body" sz="quarter" idx="58" hasCustomPrompt="1"/>
          </p:nvPr>
        </p:nvSpPr>
        <p:spPr>
          <a:xfrm>
            <a:off x="9401035" y="492125"/>
            <a:ext cx="2202154" cy="430887"/>
          </a:xfrm>
          <a:prstGeom prst="rect">
            <a:avLst/>
          </a:prstGeom>
          <a:noFill/>
        </p:spPr>
        <p:txBody>
          <a:bodyPr vert="horz" wrap="square" lIns="0" tIns="0" rIns="0" bIns="0" rtlCol="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defTabSz="228600">
              <a:lnSpc>
                <a:spcPct val="100000"/>
              </a:lnSpc>
              <a:spcBef>
                <a:spcPct val="0"/>
              </a:spcBef>
            </a:pPr>
            <a:r>
              <a:rPr lang="en-US"/>
              <a:t>Conclusion</a:t>
            </a:r>
          </a:p>
        </p:txBody>
      </p:sp>
      <p:sp>
        <p:nvSpPr>
          <p:cNvPr id="4" name="Graphic 8">
            <a:extLst>
              <a:ext uri="{FF2B5EF4-FFF2-40B4-BE49-F238E27FC236}">
                <a16:creationId xmlns:a16="http://schemas.microsoft.com/office/drawing/2014/main" id="{8313C5A4-0B29-440E-3CDD-9C9394AA8325}"/>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2B4D6061-116A-AC4A-B2E6-305996AEC30B}"/>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7" name="TextBox 6">
            <a:extLst>
              <a:ext uri="{FF2B5EF4-FFF2-40B4-BE49-F238E27FC236}">
                <a16:creationId xmlns:a16="http://schemas.microsoft.com/office/drawing/2014/main" id="{2C9EECF7-FA20-03CE-8243-4E43160C49A2}"/>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1" name="Text Placeholder 18">
            <a:extLst>
              <a:ext uri="{FF2B5EF4-FFF2-40B4-BE49-F238E27FC236}">
                <a16:creationId xmlns:a16="http://schemas.microsoft.com/office/drawing/2014/main" id="{598C0F2A-4DE2-4741-6629-DDB7D3EFECD3}"/>
              </a:ext>
            </a:extLst>
          </p:cNvPr>
          <p:cNvSpPr>
            <a:spLocks noGrp="1"/>
          </p:cNvSpPr>
          <p:nvPr>
            <p:ph type="body" sz="quarter" idx="21" hasCustomPrompt="1"/>
          </p:nvPr>
        </p:nvSpPr>
        <p:spPr>
          <a:xfrm>
            <a:off x="552450" y="127228"/>
            <a:ext cx="2814638" cy="153888"/>
          </a:xfrm>
          <a:prstGeom prst="rect">
            <a:avLst/>
          </a:prstGeom>
        </p:spPr>
        <p:txBody>
          <a:bodyPr wrap="square" lIns="0" tIns="0" rIns="0" bIns="0">
            <a:spAutoFit/>
          </a:bodyPr>
          <a:lstStyle>
            <a:lvl1pPr>
              <a:defRPr lang="en-US" sz="10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pPr>
            <a:r>
              <a:rPr lang="en-US"/>
              <a:t>Section</a:t>
            </a:r>
          </a:p>
        </p:txBody>
      </p:sp>
      <p:sp>
        <p:nvSpPr>
          <p:cNvPr id="12" name="Text Placeholder 2">
            <a:extLst>
              <a:ext uri="{FF2B5EF4-FFF2-40B4-BE49-F238E27FC236}">
                <a16:creationId xmlns:a16="http://schemas.microsoft.com/office/drawing/2014/main" id="{D4CCDD35-9EB6-F358-DB9B-59626DE55E15}"/>
              </a:ext>
            </a:extLst>
          </p:cNvPr>
          <p:cNvSpPr>
            <a:spLocks noGrp="1"/>
          </p:cNvSpPr>
          <p:nvPr>
            <p:ph type="body" sz="quarter" idx="18" hasCustomPrompt="1"/>
          </p:nvPr>
        </p:nvSpPr>
        <p:spPr>
          <a:xfrm>
            <a:off x="1117901" y="6493073"/>
            <a:ext cx="7749873" cy="120174"/>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1) Click to add footnotes (2) Click to add footnotes (3) Click to add footnotes </a:t>
            </a:r>
          </a:p>
        </p:txBody>
      </p:sp>
      <p:sp>
        <p:nvSpPr>
          <p:cNvPr id="13" name="Text Placeholder 2">
            <a:extLst>
              <a:ext uri="{FF2B5EF4-FFF2-40B4-BE49-F238E27FC236}">
                <a16:creationId xmlns:a16="http://schemas.microsoft.com/office/drawing/2014/main" id="{45744A89-A7BA-E970-16A5-24B7FF9324D4}"/>
              </a:ext>
            </a:extLst>
          </p:cNvPr>
          <p:cNvSpPr>
            <a:spLocks noGrp="1"/>
          </p:cNvSpPr>
          <p:nvPr>
            <p:ph type="body" sz="quarter" idx="19" hasCustomPrompt="1"/>
          </p:nvPr>
        </p:nvSpPr>
        <p:spPr>
          <a:xfrm>
            <a:off x="1117901" y="6623050"/>
            <a:ext cx="7749873" cy="117525"/>
          </a:xfrm>
          <a:prstGeom prst="rect">
            <a:avLst/>
          </a:prstGeom>
        </p:spPr>
        <p:txBody>
          <a:bodyPr lIns="0" tIns="0" rIns="0" anchor="ctr" anchorCtr="0"/>
          <a:lstStyle>
            <a:lvl1pPr>
              <a:defRPr lang="en-US" sz="90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100000"/>
              </a:lnSpc>
              <a:spcBef>
                <a:spcPts val="0"/>
              </a:spcBef>
            </a:pPr>
            <a:r>
              <a:rPr lang="en-US"/>
              <a:t>Source: Click to add sources</a:t>
            </a:r>
          </a:p>
        </p:txBody>
      </p:sp>
      <p:sp>
        <p:nvSpPr>
          <p:cNvPr id="8" name="Title 10">
            <a:extLst>
              <a:ext uri="{FF2B5EF4-FFF2-40B4-BE49-F238E27FC236}">
                <a16:creationId xmlns:a16="http://schemas.microsoft.com/office/drawing/2014/main" id="{287D9460-EB61-6C38-F5B8-8AAC461E44B7}"/>
              </a:ext>
            </a:extLst>
          </p:cNvPr>
          <p:cNvSpPr>
            <a:spLocks noGrp="1"/>
          </p:cNvSpPr>
          <p:nvPr>
            <p:ph type="title" hasCustomPrompt="1"/>
          </p:nvPr>
        </p:nvSpPr>
        <p:spPr>
          <a:xfrm>
            <a:off x="552449" y="493518"/>
            <a:ext cx="8328306" cy="430887"/>
          </a:xfrm>
          <a:prstGeom prst="rect">
            <a:avLst/>
          </a:prstGeom>
          <a:noFill/>
        </p:spPr>
        <p:txBody>
          <a:bodyPr vert="horz" wrap="square" lIns="0" tIns="0" rIns="0" bIns="0" rtlCol="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marL="0" lvl="0" indent="0" defTabSz="228600">
              <a:buFont typeface="Arial" panose="020B0604020202020204" pitchFamily="34" charset="0"/>
            </a:pPr>
            <a:r>
              <a:rPr lang="en-US"/>
              <a:t>Slide Title</a:t>
            </a:r>
          </a:p>
        </p:txBody>
      </p:sp>
    </p:spTree>
    <p:extLst>
      <p:ext uri="{BB962C8B-B14F-4D97-AF65-F5344CB8AC3E}">
        <p14:creationId xmlns:p14="http://schemas.microsoft.com/office/powerpoint/2010/main" val="3902385556"/>
      </p:ext>
    </p:extLst>
  </p:cSld>
  <p:clrMapOvr>
    <a:masterClrMapping/>
  </p:clrMapOvr>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6CEBFB7-196A-5EE6-934E-2AF69B03B563}"/>
              </a:ext>
            </a:extLst>
          </p:cNvPr>
          <p:cNvGraphicFramePr>
            <a:graphicFrameLocks noChangeAspect="1"/>
          </p:cNvGraphicFramePr>
          <p:nvPr userDrawn="1">
            <p:custDataLst>
              <p:tags r:id="rId1"/>
            </p:custDataLst>
            <p:extLst>
              <p:ext uri="{D42A27DB-BD31-4B8C-83A1-F6EECF244321}">
                <p14:modId xmlns:p14="http://schemas.microsoft.com/office/powerpoint/2010/main" val="172870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B6CEBFB7-196A-5EE6-934E-2AF69B03B5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Graphic 8">
            <a:extLst>
              <a:ext uri="{FF2B5EF4-FFF2-40B4-BE49-F238E27FC236}">
                <a16:creationId xmlns:a16="http://schemas.microsoft.com/office/drawing/2014/main" id="{2FE5E698-8B97-595A-5402-C28D2403B9CE}"/>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5" name="TextBox 4">
            <a:extLst>
              <a:ext uri="{FF2B5EF4-FFF2-40B4-BE49-F238E27FC236}">
                <a16:creationId xmlns:a16="http://schemas.microsoft.com/office/drawing/2014/main" id="{E6A4461D-CE92-152F-6E0E-099CD0D49AEE}"/>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6" name="TextBox 5">
            <a:extLst>
              <a:ext uri="{FF2B5EF4-FFF2-40B4-BE49-F238E27FC236}">
                <a16:creationId xmlns:a16="http://schemas.microsoft.com/office/drawing/2014/main" id="{6A2D4DFB-7E1E-9F6B-3A99-245B8B97E173}"/>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5230004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 Light - Pattern 1">
    <p:bg>
      <p:bgPr>
        <a:solidFill>
          <a:schemeClr val="accent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81E8CA-A95C-9C91-F3EB-65F59A82681E}"/>
              </a:ext>
            </a:extLst>
          </p:cNvPr>
          <p:cNvGraphicFramePr>
            <a:graphicFrameLocks noChangeAspect="1"/>
          </p:cNvGraphicFramePr>
          <p:nvPr userDrawn="1">
            <p:custDataLst>
              <p:tags r:id="rId1"/>
            </p:custDataLst>
            <p:extLst>
              <p:ext uri="{D42A27DB-BD31-4B8C-83A1-F6EECF244321}">
                <p14:modId xmlns:p14="http://schemas.microsoft.com/office/powerpoint/2010/main" val="22349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E81E8CA-A95C-9C91-F3EB-65F59A826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FE3F092B-2F88-F68B-7B60-C509C9913220}"/>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sp>
        <p:nvSpPr>
          <p:cNvPr id="8" name="Title 10">
            <a:extLst>
              <a:ext uri="{FF2B5EF4-FFF2-40B4-BE49-F238E27FC236}">
                <a16:creationId xmlns:a16="http://schemas.microsoft.com/office/drawing/2014/main" id="{BE9FAF82-B37C-D0AE-642B-951EF9DC720E}"/>
              </a:ext>
            </a:extLst>
          </p:cNvPr>
          <p:cNvSpPr>
            <a:spLocks noGrp="1"/>
          </p:cNvSpPr>
          <p:nvPr>
            <p:ph type="title" hasCustomPrompt="1"/>
          </p:nvPr>
        </p:nvSpPr>
        <p:spPr>
          <a:xfrm>
            <a:off x="336550" y="3198590"/>
            <a:ext cx="11520488" cy="1034129"/>
          </a:xfrm>
          <a:prstGeom prst="rect">
            <a:avLst/>
          </a:prstGeom>
        </p:spPr>
        <p:txBody>
          <a:bodyPr vert="horz" wrap="square" lIns="0" tIns="0" rIns="0" bIns="0" rtlCol="0" anchor="t" anchorCtr="0">
            <a:spAutoFit/>
          </a:bodyPr>
          <a:lstStyle>
            <a:lvl1pPr algn="ctr" rtl="0">
              <a:lnSpc>
                <a:spcPct val="100000"/>
              </a:lnSpc>
              <a:defRPr lang="en-GB" sz="4000" dirty="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a:t>&lt;Light Section break: background color can be changed&gt;</a:t>
            </a:r>
          </a:p>
        </p:txBody>
      </p:sp>
      <p:sp>
        <p:nvSpPr>
          <p:cNvPr id="12" name="Graphic 8">
            <a:extLst>
              <a:ext uri="{FF2B5EF4-FFF2-40B4-BE49-F238E27FC236}">
                <a16:creationId xmlns:a16="http://schemas.microsoft.com/office/drawing/2014/main" id="{458458BE-AD14-A29D-382B-661C528A7E9E}"/>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lnSpc>
                <a:spcPct val="100000"/>
              </a:lnSpc>
            </a:pPr>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DD3D06A3-F6A6-DF35-059D-8F0B9219645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lnSpc>
                <a:spcPct val="100000"/>
              </a:lnSpc>
            </a:pPr>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4" name="TextBox 13">
            <a:extLst>
              <a:ext uri="{FF2B5EF4-FFF2-40B4-BE49-F238E27FC236}">
                <a16:creationId xmlns:a16="http://schemas.microsoft.com/office/drawing/2014/main" id="{0D4D1599-7F76-5487-F97F-883890C50B1D}"/>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lnSpc>
                <a:spcPct val="100000"/>
              </a:lnSpc>
            </a:pP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lnSpc>
                  <a:spcPct val="100000"/>
                </a:lnSpc>
              </a:pPr>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2722021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 Light - Pattern 2">
    <p:bg>
      <p:bgPr>
        <a:solidFill>
          <a:schemeClr val="accent5"/>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81E8CA-A95C-9C91-F3EB-65F59A82681E}"/>
              </a:ext>
            </a:extLst>
          </p:cNvPr>
          <p:cNvGraphicFramePr>
            <a:graphicFrameLocks noChangeAspect="1"/>
          </p:cNvGraphicFramePr>
          <p:nvPr userDrawn="1">
            <p:custDataLst>
              <p:tags r:id="rId1"/>
            </p:custDataLst>
            <p:extLst>
              <p:ext uri="{D42A27DB-BD31-4B8C-83A1-F6EECF244321}">
                <p14:modId xmlns:p14="http://schemas.microsoft.com/office/powerpoint/2010/main" val="408933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E81E8CA-A95C-9C91-F3EB-65F59A826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DBC8E0EE-48E3-9A7E-A07F-ED1049F2020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0" y="-446"/>
            <a:ext cx="12193588" cy="6858894"/>
          </a:xfrm>
          <a:prstGeom prst="rect">
            <a:avLst/>
          </a:prstGeom>
        </p:spPr>
      </p:pic>
      <p:sp>
        <p:nvSpPr>
          <p:cNvPr id="8" name="Title 10">
            <a:extLst>
              <a:ext uri="{FF2B5EF4-FFF2-40B4-BE49-F238E27FC236}">
                <a16:creationId xmlns:a16="http://schemas.microsoft.com/office/drawing/2014/main" id="{BE9FAF82-B37C-D0AE-642B-951EF9DC720E}"/>
              </a:ext>
            </a:extLst>
          </p:cNvPr>
          <p:cNvSpPr>
            <a:spLocks noGrp="1"/>
          </p:cNvSpPr>
          <p:nvPr>
            <p:ph type="title" hasCustomPrompt="1"/>
          </p:nvPr>
        </p:nvSpPr>
        <p:spPr>
          <a:xfrm>
            <a:off x="336550" y="3198590"/>
            <a:ext cx="11520488" cy="1034129"/>
          </a:xfrm>
          <a:prstGeom prst="rect">
            <a:avLst/>
          </a:prstGeom>
        </p:spPr>
        <p:txBody>
          <a:bodyPr vert="horz" wrap="square" lIns="0" tIns="0" rIns="0" bIns="0" rtlCol="0" anchor="t" anchorCtr="0">
            <a:spAutoFit/>
          </a:bodyPr>
          <a:lstStyle>
            <a:lvl1pPr algn="ctr" rtl="0">
              <a:lnSpc>
                <a:spcPct val="100000"/>
              </a:lnSpc>
              <a:defRPr lang="en-GB" sz="4000" dirty="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a:t>&lt;Light Section break: background color can be changed&gt;</a:t>
            </a:r>
          </a:p>
        </p:txBody>
      </p:sp>
      <p:sp>
        <p:nvSpPr>
          <p:cNvPr id="12" name="Graphic 8">
            <a:extLst>
              <a:ext uri="{FF2B5EF4-FFF2-40B4-BE49-F238E27FC236}">
                <a16:creationId xmlns:a16="http://schemas.microsoft.com/office/drawing/2014/main" id="{458458BE-AD14-A29D-382B-661C528A7E9E}"/>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lnSpc>
                <a:spcPct val="100000"/>
              </a:lnSpc>
            </a:pPr>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DD3D06A3-F6A6-DF35-059D-8F0B9219645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lnSpc>
                <a:spcPct val="100000"/>
              </a:lnSpc>
            </a:pPr>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4" name="TextBox 13">
            <a:extLst>
              <a:ext uri="{FF2B5EF4-FFF2-40B4-BE49-F238E27FC236}">
                <a16:creationId xmlns:a16="http://schemas.microsoft.com/office/drawing/2014/main" id="{0D4D1599-7F76-5487-F97F-883890C50B1D}"/>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lnSpc>
                <a:spcPct val="100000"/>
              </a:lnSpc>
            </a:pP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lnSpc>
                  <a:spcPct val="100000"/>
                </a:lnSpc>
              </a:pPr>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444908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 Dark - Pattern 1">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81E8CA-A95C-9C91-F3EB-65F59A82681E}"/>
              </a:ext>
            </a:extLst>
          </p:cNvPr>
          <p:cNvGraphicFramePr>
            <a:graphicFrameLocks noChangeAspect="1"/>
          </p:cNvGraphicFramePr>
          <p:nvPr userDrawn="1">
            <p:custDataLst>
              <p:tags r:id="rId1"/>
            </p:custDataLst>
            <p:extLst>
              <p:ext uri="{D42A27DB-BD31-4B8C-83A1-F6EECF244321}">
                <p14:modId xmlns:p14="http://schemas.microsoft.com/office/powerpoint/2010/main" val="141658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E81E8CA-A95C-9C91-F3EB-65F59A826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FE3F092B-2F88-F68B-7B60-C509C9913220}"/>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sp>
        <p:nvSpPr>
          <p:cNvPr id="8" name="Title 10">
            <a:extLst>
              <a:ext uri="{FF2B5EF4-FFF2-40B4-BE49-F238E27FC236}">
                <a16:creationId xmlns:a16="http://schemas.microsoft.com/office/drawing/2014/main" id="{BE9FAF82-B37C-D0AE-642B-951EF9DC720E}"/>
              </a:ext>
            </a:extLst>
          </p:cNvPr>
          <p:cNvSpPr>
            <a:spLocks noGrp="1"/>
          </p:cNvSpPr>
          <p:nvPr>
            <p:ph type="title" hasCustomPrompt="1"/>
          </p:nvPr>
        </p:nvSpPr>
        <p:spPr>
          <a:xfrm>
            <a:off x="336550" y="3198590"/>
            <a:ext cx="11520488" cy="1034129"/>
          </a:xfrm>
          <a:prstGeom prst="rect">
            <a:avLst/>
          </a:prstGeom>
        </p:spPr>
        <p:txBody>
          <a:bodyPr vert="horz" wrap="square" lIns="0" tIns="0" rIns="0" bIns="0" rtlCol="0" anchor="t" anchorCtr="0">
            <a:spAutoFit/>
          </a:bodyPr>
          <a:lstStyle>
            <a:lvl1pPr algn="ctr" rtl="0">
              <a:lnSpc>
                <a:spcPct val="100000"/>
              </a:lnSpc>
              <a:defRPr lang="en-GB" sz="400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a:t>&lt;Dark Section break: background color can be changed&gt;</a:t>
            </a:r>
          </a:p>
        </p:txBody>
      </p:sp>
      <p:sp>
        <p:nvSpPr>
          <p:cNvPr id="12" name="Graphic 8">
            <a:extLst>
              <a:ext uri="{FF2B5EF4-FFF2-40B4-BE49-F238E27FC236}">
                <a16:creationId xmlns:a16="http://schemas.microsoft.com/office/drawing/2014/main" id="{458458BE-AD14-A29D-382B-661C528A7E9E}"/>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bg1"/>
          </a:solidFill>
          <a:ln w="9488" cap="flat">
            <a:noFill/>
            <a:prstDash val="solid"/>
            <a:miter/>
          </a:ln>
        </p:spPr>
        <p:txBody>
          <a:bodyPr rtlCol="0" anchor="ctr"/>
          <a:lstStyle/>
          <a:p>
            <a:pPr rtl="0">
              <a:lnSpc>
                <a:spcPct val="100000"/>
              </a:lnSpc>
            </a:pPr>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DD3D06A3-F6A6-DF35-059D-8F0B9219645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lnSpc>
                <a:spcPct val="100000"/>
              </a:lnSpc>
            </a:pPr>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4" name="TextBox 13">
            <a:extLst>
              <a:ext uri="{FF2B5EF4-FFF2-40B4-BE49-F238E27FC236}">
                <a16:creationId xmlns:a16="http://schemas.microsoft.com/office/drawing/2014/main" id="{0D4D1599-7F76-5487-F97F-883890C50B1D}"/>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lnSpc>
                <a:spcPct val="100000"/>
              </a:lnSpc>
            </a:pP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lnSpc>
                  <a:spcPct val="100000"/>
                </a:lnSpc>
              </a:pPr>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0277846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 Dark - Pattern 2">
    <p:bg>
      <p:bgPr>
        <a:solidFill>
          <a:schemeClr val="accent4"/>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81E8CA-A95C-9C91-F3EB-65F59A82681E}"/>
              </a:ext>
            </a:extLst>
          </p:cNvPr>
          <p:cNvGraphicFramePr>
            <a:graphicFrameLocks noChangeAspect="1"/>
          </p:cNvGraphicFramePr>
          <p:nvPr userDrawn="1">
            <p:custDataLst>
              <p:tags r:id="rId1"/>
            </p:custDataLst>
            <p:extLst>
              <p:ext uri="{D42A27DB-BD31-4B8C-83A1-F6EECF244321}">
                <p14:modId xmlns:p14="http://schemas.microsoft.com/office/powerpoint/2010/main" val="2019058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E81E8CA-A95C-9C91-F3EB-65F59A826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DBC8E0EE-48E3-9A7E-A07F-ED1049F2020D}"/>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0" y="-446"/>
            <a:ext cx="12193588" cy="6858894"/>
          </a:xfrm>
          <a:prstGeom prst="rect">
            <a:avLst/>
          </a:prstGeom>
        </p:spPr>
      </p:pic>
      <p:sp>
        <p:nvSpPr>
          <p:cNvPr id="8" name="Title 10">
            <a:extLst>
              <a:ext uri="{FF2B5EF4-FFF2-40B4-BE49-F238E27FC236}">
                <a16:creationId xmlns:a16="http://schemas.microsoft.com/office/drawing/2014/main" id="{BE9FAF82-B37C-D0AE-642B-951EF9DC720E}"/>
              </a:ext>
            </a:extLst>
          </p:cNvPr>
          <p:cNvSpPr>
            <a:spLocks noGrp="1"/>
          </p:cNvSpPr>
          <p:nvPr>
            <p:ph type="title" hasCustomPrompt="1"/>
          </p:nvPr>
        </p:nvSpPr>
        <p:spPr>
          <a:xfrm>
            <a:off x="336550" y="3198590"/>
            <a:ext cx="11520488" cy="1034129"/>
          </a:xfrm>
          <a:prstGeom prst="rect">
            <a:avLst/>
          </a:prstGeom>
        </p:spPr>
        <p:txBody>
          <a:bodyPr vert="horz" wrap="square" lIns="0" tIns="0" rIns="0" bIns="0" rtlCol="0" anchor="t" anchorCtr="0">
            <a:spAutoFit/>
          </a:bodyPr>
          <a:lstStyle>
            <a:lvl1pPr algn="ctr" rtl="0">
              <a:lnSpc>
                <a:spcPct val="100000"/>
              </a:lnSpc>
              <a:defRPr lang="en-GB" sz="400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a:t>&lt;Dark Section break: background color can be changed&gt;</a:t>
            </a:r>
          </a:p>
        </p:txBody>
      </p:sp>
      <p:sp>
        <p:nvSpPr>
          <p:cNvPr id="12" name="Graphic 8">
            <a:extLst>
              <a:ext uri="{FF2B5EF4-FFF2-40B4-BE49-F238E27FC236}">
                <a16:creationId xmlns:a16="http://schemas.microsoft.com/office/drawing/2014/main" id="{458458BE-AD14-A29D-382B-661C528A7E9E}"/>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bg1"/>
          </a:solidFill>
          <a:ln w="9488" cap="flat">
            <a:noFill/>
            <a:prstDash val="solid"/>
            <a:miter/>
          </a:ln>
        </p:spPr>
        <p:txBody>
          <a:bodyPr rtlCol="0" anchor="ctr"/>
          <a:lstStyle/>
          <a:p>
            <a:pPr rtl="0">
              <a:lnSpc>
                <a:spcPct val="100000"/>
              </a:lnSpc>
            </a:pPr>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DD3D06A3-F6A6-DF35-059D-8F0B9219645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lnSpc>
                <a:spcPct val="100000"/>
              </a:lnSpc>
            </a:pPr>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4" name="TextBox 13">
            <a:extLst>
              <a:ext uri="{FF2B5EF4-FFF2-40B4-BE49-F238E27FC236}">
                <a16:creationId xmlns:a16="http://schemas.microsoft.com/office/drawing/2014/main" id="{0D4D1599-7F76-5487-F97F-883890C50B1D}"/>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lnSpc>
                <a:spcPct val="100000"/>
              </a:lnSpc>
            </a:pP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lnSpc>
                  <a:spcPct val="100000"/>
                </a:lnSpc>
              </a:pPr>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1596633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 Light">
    <p:bg>
      <p:bgPr>
        <a:solidFill>
          <a:schemeClr val="accent6"/>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81E8CA-A95C-9C91-F3EB-65F59A82681E}"/>
              </a:ext>
            </a:extLst>
          </p:cNvPr>
          <p:cNvGraphicFramePr>
            <a:graphicFrameLocks noChangeAspect="1"/>
          </p:cNvGraphicFramePr>
          <p:nvPr userDrawn="1">
            <p:custDataLst>
              <p:tags r:id="rId1"/>
            </p:custDataLst>
            <p:extLst>
              <p:ext uri="{D42A27DB-BD31-4B8C-83A1-F6EECF244321}">
                <p14:modId xmlns:p14="http://schemas.microsoft.com/office/powerpoint/2010/main" val="336173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E81E8CA-A95C-9C91-F3EB-65F59A826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0">
            <a:extLst>
              <a:ext uri="{FF2B5EF4-FFF2-40B4-BE49-F238E27FC236}">
                <a16:creationId xmlns:a16="http://schemas.microsoft.com/office/drawing/2014/main" id="{BE9FAF82-B37C-D0AE-642B-951EF9DC720E}"/>
              </a:ext>
            </a:extLst>
          </p:cNvPr>
          <p:cNvSpPr>
            <a:spLocks noGrp="1"/>
          </p:cNvSpPr>
          <p:nvPr>
            <p:ph type="title" hasCustomPrompt="1"/>
          </p:nvPr>
        </p:nvSpPr>
        <p:spPr>
          <a:xfrm>
            <a:off x="336550" y="3198590"/>
            <a:ext cx="11520488" cy="523220"/>
          </a:xfrm>
          <a:prstGeom prst="rect">
            <a:avLst/>
          </a:prstGeom>
        </p:spPr>
        <p:txBody>
          <a:bodyPr vert="horz" wrap="square" lIns="0" tIns="0" rIns="0" bIns="0" rtlCol="0" anchor="t" anchorCtr="0">
            <a:spAutoFit/>
          </a:bodyPr>
          <a:lstStyle>
            <a:lvl1pPr algn="ctr" rtl="0">
              <a:lnSpc>
                <a:spcPct val="100000"/>
              </a:lnSpc>
              <a:defRPr lang="en-GB" sz="4000" dirty="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a:t>Light Section break heading</a:t>
            </a:r>
          </a:p>
        </p:txBody>
      </p:sp>
      <p:sp>
        <p:nvSpPr>
          <p:cNvPr id="12" name="Graphic 8">
            <a:extLst>
              <a:ext uri="{FF2B5EF4-FFF2-40B4-BE49-F238E27FC236}">
                <a16:creationId xmlns:a16="http://schemas.microsoft.com/office/drawing/2014/main" id="{458458BE-AD14-A29D-382B-661C528A7E9E}"/>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DD3D06A3-F6A6-DF35-059D-8F0B9219645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4" name="TextBox 13">
            <a:extLst>
              <a:ext uri="{FF2B5EF4-FFF2-40B4-BE49-F238E27FC236}">
                <a16:creationId xmlns:a16="http://schemas.microsoft.com/office/drawing/2014/main" id="{0D4D1599-7F76-5487-F97F-883890C50B1D}"/>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13652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 Dark">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81E8CA-A95C-9C91-F3EB-65F59A82681E}"/>
              </a:ext>
            </a:extLst>
          </p:cNvPr>
          <p:cNvGraphicFramePr>
            <a:graphicFrameLocks noChangeAspect="1"/>
          </p:cNvGraphicFramePr>
          <p:nvPr userDrawn="1">
            <p:custDataLst>
              <p:tags r:id="rId1"/>
            </p:custDataLst>
            <p:extLst>
              <p:ext uri="{D42A27DB-BD31-4B8C-83A1-F6EECF244321}">
                <p14:modId xmlns:p14="http://schemas.microsoft.com/office/powerpoint/2010/main" val="387236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E81E8CA-A95C-9C91-F3EB-65F59A826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0">
            <a:extLst>
              <a:ext uri="{FF2B5EF4-FFF2-40B4-BE49-F238E27FC236}">
                <a16:creationId xmlns:a16="http://schemas.microsoft.com/office/drawing/2014/main" id="{BE9FAF82-B37C-D0AE-642B-951EF9DC720E}"/>
              </a:ext>
            </a:extLst>
          </p:cNvPr>
          <p:cNvSpPr>
            <a:spLocks noGrp="1"/>
          </p:cNvSpPr>
          <p:nvPr>
            <p:ph type="title" hasCustomPrompt="1"/>
          </p:nvPr>
        </p:nvSpPr>
        <p:spPr>
          <a:xfrm>
            <a:off x="336550" y="3198590"/>
            <a:ext cx="11520488" cy="523220"/>
          </a:xfrm>
          <a:prstGeom prst="rect">
            <a:avLst/>
          </a:prstGeom>
        </p:spPr>
        <p:txBody>
          <a:bodyPr vert="horz" wrap="square" lIns="0" tIns="0" rIns="0" bIns="0" rtlCol="0" anchor="t" anchorCtr="0">
            <a:spAutoFit/>
          </a:bodyPr>
          <a:lstStyle>
            <a:lvl1pPr algn="ctr" rtl="0">
              <a:lnSpc>
                <a:spcPct val="100000"/>
              </a:lnSpc>
              <a:defRPr lang="en-GB" sz="400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a:t>Dark Section break heading</a:t>
            </a:r>
          </a:p>
        </p:txBody>
      </p:sp>
      <p:sp>
        <p:nvSpPr>
          <p:cNvPr id="12" name="Graphic 8">
            <a:extLst>
              <a:ext uri="{FF2B5EF4-FFF2-40B4-BE49-F238E27FC236}">
                <a16:creationId xmlns:a16="http://schemas.microsoft.com/office/drawing/2014/main" id="{458458BE-AD14-A29D-382B-661C528A7E9E}"/>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bg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DD3D06A3-F6A6-DF35-059D-8F0B9219645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4" name="TextBox 13">
            <a:extLst>
              <a:ext uri="{FF2B5EF4-FFF2-40B4-BE49-F238E27FC236}">
                <a16:creationId xmlns:a16="http://schemas.microsoft.com/office/drawing/2014/main" id="{0D4D1599-7F76-5487-F97F-883890C50B1D}"/>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56709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042315-B862-0611-BD64-C3E8F591A3ED}"/>
              </a:ext>
            </a:extLst>
          </p:cNvPr>
          <p:cNvGraphicFramePr>
            <a:graphicFrameLocks noChangeAspect="1"/>
          </p:cNvGraphicFramePr>
          <p:nvPr userDrawn="1">
            <p:custDataLst>
              <p:tags r:id="rId1"/>
            </p:custDataLst>
            <p:extLst>
              <p:ext uri="{D42A27DB-BD31-4B8C-83A1-F6EECF244321}">
                <p14:modId xmlns:p14="http://schemas.microsoft.com/office/powerpoint/2010/main" val="115957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91042315-B862-0611-BD64-C3E8F591A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Graphic 8">
            <a:extLst>
              <a:ext uri="{FF2B5EF4-FFF2-40B4-BE49-F238E27FC236}">
                <a16:creationId xmlns:a16="http://schemas.microsoft.com/office/drawing/2014/main" id="{4AF946D8-46E3-E8BE-0EFB-3824296F2099}"/>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D358B02E-BB88-B0C5-CD48-493EFB140498}"/>
              </a:ext>
            </a:extLst>
          </p:cNvPr>
          <p:cNvSpPr>
            <a:spLocks noGrp="1"/>
          </p:cNvSpPr>
          <p:nvPr>
            <p:ph type="body" sz="quarter" idx="18" hasCustomPrompt="1"/>
          </p:nvPr>
        </p:nvSpPr>
        <p:spPr>
          <a:xfrm>
            <a:off x="1117902" y="6493073"/>
            <a:ext cx="9365948" cy="120174"/>
          </a:xfrm>
          <a:prstGeom prst="rect">
            <a:avLst/>
          </a:prstGeom>
        </p:spPr>
        <p:txBody>
          <a:bodyPr bIns="0" anchor="b" anchorCtr="0"/>
          <a:lstStyle>
            <a:lvl1pPr>
              <a:lnSpc>
                <a:spcPct val="100000"/>
              </a:lnSpc>
              <a:spcBef>
                <a:spcPts val="0"/>
              </a:spcBef>
              <a:defRPr sz="9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11" name="Text Placeholder 2">
            <a:extLst>
              <a:ext uri="{FF2B5EF4-FFF2-40B4-BE49-F238E27FC236}">
                <a16:creationId xmlns:a16="http://schemas.microsoft.com/office/drawing/2014/main" id="{7735B803-017B-8232-124B-ECD762A921EB}"/>
              </a:ext>
            </a:extLst>
          </p:cNvPr>
          <p:cNvSpPr>
            <a:spLocks noGrp="1"/>
          </p:cNvSpPr>
          <p:nvPr>
            <p:ph type="body" sz="quarter" idx="19" hasCustomPrompt="1"/>
          </p:nvPr>
        </p:nvSpPr>
        <p:spPr>
          <a:xfrm>
            <a:off x="1117902" y="6623050"/>
            <a:ext cx="9365948" cy="117525"/>
          </a:xfrm>
          <a:prstGeom prst="rect">
            <a:avLst/>
          </a:prstGeom>
        </p:spPr>
        <p:txBody>
          <a:bodyPr anchor="ctr" anchorCtr="0"/>
          <a:lstStyle>
            <a:lvl1pPr>
              <a:lnSpc>
                <a:spcPct val="100000"/>
              </a:lnSpc>
              <a:spcBef>
                <a:spcPts val="0"/>
              </a:spcBef>
              <a:defRPr sz="9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
        <p:nvSpPr>
          <p:cNvPr id="14" name="TextBox 13">
            <a:extLst>
              <a:ext uri="{FF2B5EF4-FFF2-40B4-BE49-F238E27FC236}">
                <a16:creationId xmlns:a16="http://schemas.microsoft.com/office/drawing/2014/main" id="{B33A13D0-9311-4F81-D86D-866B8C99CAE4}"/>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5" name="TextBox 14">
            <a:extLst>
              <a:ext uri="{FF2B5EF4-FFF2-40B4-BE49-F238E27FC236}">
                <a16:creationId xmlns:a16="http://schemas.microsoft.com/office/drawing/2014/main" id="{56962E2C-8D03-7472-34EC-760A4D65EE11}"/>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1" name="Title Placeholder 1">
            <a:extLst>
              <a:ext uri="{FF2B5EF4-FFF2-40B4-BE49-F238E27FC236}">
                <a16:creationId xmlns:a16="http://schemas.microsoft.com/office/drawing/2014/main" id="{85B067A6-3909-DB62-81E8-604883F143DA}"/>
              </a:ext>
            </a:extLst>
          </p:cNvPr>
          <p:cNvSpPr>
            <a:spLocks noGrp="1"/>
          </p:cNvSpPr>
          <p:nvPr>
            <p:ph type="title" hasCustomPrompt="1"/>
          </p:nvPr>
        </p:nvSpPr>
        <p:spPr>
          <a:xfrm>
            <a:off x="565150" y="493518"/>
            <a:ext cx="11075988" cy="792000"/>
          </a:xfrm>
          <a:prstGeom prst="rect">
            <a:avLst/>
          </a:prstGeom>
        </p:spPr>
        <p:txBody>
          <a:bodyPr vert="horz" wrap="square" lIns="0" tIns="0" rIns="0" bIns="0" rtlCol="0" anchor="t" anchorCtr="0">
            <a:noAutofit/>
          </a:bodyPr>
          <a:lstStyle>
            <a:lvl1pPr>
              <a:defRPr lang="en-US" dirty="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lnSpc>
                <a:spcPct val="84000"/>
              </a:lnSpc>
            </a:pPr>
            <a:r>
              <a:rPr lang="en-US" dirty="0"/>
              <a:t>Title – One line is better, two is also ok</a:t>
            </a:r>
            <a:br>
              <a:rPr lang="en-US" dirty="0"/>
            </a:br>
            <a:endParaRPr lang="en-US" dirty="0"/>
          </a:p>
        </p:txBody>
      </p:sp>
      <p:sp>
        <p:nvSpPr>
          <p:cNvPr id="2" name="Text Placeholder 18">
            <a:extLst>
              <a:ext uri="{FF2B5EF4-FFF2-40B4-BE49-F238E27FC236}">
                <a16:creationId xmlns:a16="http://schemas.microsoft.com/office/drawing/2014/main" id="{917905C3-2C31-0E74-367D-10AE62173BE7}"/>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Tree>
    <p:extLst>
      <p:ext uri="{BB962C8B-B14F-4D97-AF65-F5344CB8AC3E}">
        <p14:creationId xmlns:p14="http://schemas.microsoft.com/office/powerpoint/2010/main" val="3056729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89"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0637F07-05BA-90D9-F165-C9EE464A52C8}"/>
              </a:ext>
            </a:extLst>
          </p:cNvPr>
          <p:cNvGraphicFramePr>
            <a:graphicFrameLocks noChangeAspect="1"/>
          </p:cNvGraphicFramePr>
          <p:nvPr userDrawn="1">
            <p:custDataLst>
              <p:tags r:id="rId1"/>
            </p:custDataLst>
            <p:extLst>
              <p:ext uri="{D42A27DB-BD31-4B8C-83A1-F6EECF244321}">
                <p14:modId xmlns:p14="http://schemas.microsoft.com/office/powerpoint/2010/main" val="1243291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40637F07-05BA-90D9-F165-C9EE464A5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Graphic 12">
            <a:extLst>
              <a:ext uri="{FF2B5EF4-FFF2-40B4-BE49-F238E27FC236}">
                <a16:creationId xmlns:a16="http://schemas.microsoft.com/office/drawing/2014/main" id="{8428663E-F8F1-7259-3CEB-6D41E5527FAE}"/>
              </a:ext>
            </a:extLst>
          </p:cNvPr>
          <p:cNvSpPr/>
          <p:nvPr userDrawn="1"/>
        </p:nvSpPr>
        <p:spPr>
          <a:xfrm>
            <a:off x="0" y="0"/>
            <a:ext cx="12197762" cy="6858000"/>
          </a:xfrm>
          <a:custGeom>
            <a:avLst/>
            <a:gdLst>
              <a:gd name="connsiteX0" fmla="*/ 459427 w 7285564"/>
              <a:gd name="connsiteY0" fmla="*/ 452669 h 4096194"/>
              <a:gd name="connsiteX1" fmla="*/ 6826138 w 7285564"/>
              <a:gd name="connsiteY1" fmla="*/ 452669 h 4096194"/>
              <a:gd name="connsiteX2" fmla="*/ 6826138 w 7285564"/>
              <a:gd name="connsiteY2" fmla="*/ 1764364 h 4096194"/>
              <a:gd name="connsiteX3" fmla="*/ 4977338 w 7285564"/>
              <a:gd name="connsiteY3" fmla="*/ 1764364 h 4096194"/>
              <a:gd name="connsiteX4" fmla="*/ 4977338 w 7285564"/>
              <a:gd name="connsiteY4" fmla="*/ 2217033 h 4096194"/>
              <a:gd name="connsiteX5" fmla="*/ 6826138 w 7285564"/>
              <a:gd name="connsiteY5" fmla="*/ 2217033 h 4096194"/>
              <a:gd name="connsiteX6" fmla="*/ 6826138 w 7285564"/>
              <a:gd name="connsiteY6" fmla="*/ 3646787 h 4096194"/>
              <a:gd name="connsiteX7" fmla="*/ 459427 w 7285564"/>
              <a:gd name="connsiteY7" fmla="*/ 3646787 h 4096194"/>
              <a:gd name="connsiteX8" fmla="*/ 459427 w 7285564"/>
              <a:gd name="connsiteY8" fmla="*/ 2217033 h 4096194"/>
              <a:gd name="connsiteX9" fmla="*/ 2308227 w 7285564"/>
              <a:gd name="connsiteY9" fmla="*/ 2217033 h 4096194"/>
              <a:gd name="connsiteX10" fmla="*/ 2308227 w 7285564"/>
              <a:gd name="connsiteY10" fmla="*/ 1764364 h 4096194"/>
              <a:gd name="connsiteX11" fmla="*/ 459427 w 7285564"/>
              <a:gd name="connsiteY11" fmla="*/ 1764364 h 4096194"/>
              <a:gd name="connsiteX12" fmla="*/ 459427 w 7285564"/>
              <a:gd name="connsiteY12" fmla="*/ 452669 h 4096194"/>
              <a:gd name="connsiteX13" fmla="*/ 0 w 7285564"/>
              <a:gd name="connsiteY13" fmla="*/ 4096194 h 4096194"/>
              <a:gd name="connsiteX14" fmla="*/ 7285565 w 7285564"/>
              <a:gd name="connsiteY14" fmla="*/ 4096194 h 4096194"/>
              <a:gd name="connsiteX15" fmla="*/ 7285565 w 7285564"/>
              <a:gd name="connsiteY15" fmla="*/ 0 h 4096194"/>
              <a:gd name="connsiteX16" fmla="*/ 0 w 7285564"/>
              <a:gd name="connsiteY16" fmla="*/ 0 h 4096194"/>
              <a:gd name="connsiteX17" fmla="*/ 0 w 7285564"/>
              <a:gd name="connsiteY17" fmla="*/ 4096194 h 409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85564" h="4096194">
                <a:moveTo>
                  <a:pt x="459427" y="452669"/>
                </a:moveTo>
                <a:lnTo>
                  <a:pt x="6826138" y="452669"/>
                </a:lnTo>
                <a:lnTo>
                  <a:pt x="6826138" y="1764364"/>
                </a:lnTo>
                <a:lnTo>
                  <a:pt x="4977338" y="1764364"/>
                </a:lnTo>
                <a:lnTo>
                  <a:pt x="4977338" y="2217033"/>
                </a:lnTo>
                <a:lnTo>
                  <a:pt x="6826138" y="2217033"/>
                </a:lnTo>
                <a:lnTo>
                  <a:pt x="6826138" y="3646787"/>
                </a:lnTo>
                <a:lnTo>
                  <a:pt x="459427" y="3646787"/>
                </a:lnTo>
                <a:lnTo>
                  <a:pt x="459427" y="2217033"/>
                </a:lnTo>
                <a:lnTo>
                  <a:pt x="2308227" y="2217033"/>
                </a:lnTo>
                <a:lnTo>
                  <a:pt x="2308227" y="1764364"/>
                </a:lnTo>
                <a:lnTo>
                  <a:pt x="459427" y="1764364"/>
                </a:lnTo>
                <a:lnTo>
                  <a:pt x="459427" y="452669"/>
                </a:lnTo>
                <a:close/>
                <a:moveTo>
                  <a:pt x="0" y="4096194"/>
                </a:moveTo>
                <a:lnTo>
                  <a:pt x="7285565" y="4096194"/>
                </a:lnTo>
                <a:lnTo>
                  <a:pt x="7285565" y="0"/>
                </a:lnTo>
                <a:lnTo>
                  <a:pt x="0" y="0"/>
                </a:lnTo>
                <a:lnTo>
                  <a:pt x="0" y="4096194"/>
                </a:lnTo>
                <a:close/>
              </a:path>
            </a:pathLst>
          </a:custGeom>
          <a:solidFill>
            <a:schemeClr val="bg1">
              <a:alpha val="40000"/>
            </a:schemeClr>
          </a:solidFill>
          <a:ln w="6526" cap="flat">
            <a:noFill/>
            <a:prstDash val="solid"/>
            <a:miter/>
          </a:ln>
        </p:spPr>
        <p:txBody>
          <a:bodyPr rtlCol="0" anchor="ctr"/>
          <a:lstStyle/>
          <a:p>
            <a:pPr rtl="0"/>
            <a:endParaRPr lang="en-US" b="0" i="0">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 name="Graphic 2">
            <a:extLst>
              <a:ext uri="{FF2B5EF4-FFF2-40B4-BE49-F238E27FC236}">
                <a16:creationId xmlns:a16="http://schemas.microsoft.com/office/drawing/2014/main" id="{34F4E520-0EA2-9DA4-16EC-CE94DDDD660E}"/>
              </a:ext>
            </a:extLst>
          </p:cNvPr>
          <p:cNvSpPr/>
          <p:nvPr userDrawn="1"/>
        </p:nvSpPr>
        <p:spPr>
          <a:xfrm>
            <a:off x="4931966" y="2804929"/>
            <a:ext cx="2329656" cy="1248142"/>
          </a:xfrm>
          <a:custGeom>
            <a:avLst/>
            <a:gdLst>
              <a:gd name="connsiteX0" fmla="*/ 320516 w 3810000"/>
              <a:gd name="connsiteY0" fmla="*/ 1337577 h 2041255"/>
              <a:gd name="connsiteX1" fmla="*/ 449675 w 3810000"/>
              <a:gd name="connsiteY1" fmla="*/ 1171531 h 2041255"/>
              <a:gd name="connsiteX2" fmla="*/ 252222 w 3810000"/>
              <a:gd name="connsiteY2" fmla="*/ 996846 h 2041255"/>
              <a:gd name="connsiteX3" fmla="*/ 0 w 3810000"/>
              <a:gd name="connsiteY3" fmla="*/ 996846 h 2041255"/>
              <a:gd name="connsiteX4" fmla="*/ 0 w 3810000"/>
              <a:gd name="connsiteY4" fmla="*/ 1585460 h 2041255"/>
              <a:gd name="connsiteX5" fmla="*/ 71723 w 3810000"/>
              <a:gd name="connsiteY5" fmla="*/ 1585460 h 2041255"/>
              <a:gd name="connsiteX6" fmla="*/ 71723 w 3810000"/>
              <a:gd name="connsiteY6" fmla="*/ 1346217 h 2041255"/>
              <a:gd name="connsiteX7" fmla="*/ 243078 w 3810000"/>
              <a:gd name="connsiteY7" fmla="*/ 1346217 h 2041255"/>
              <a:gd name="connsiteX8" fmla="*/ 381857 w 3810000"/>
              <a:gd name="connsiteY8" fmla="*/ 1585460 h 2041255"/>
              <a:gd name="connsiteX9" fmla="*/ 466630 w 3810000"/>
              <a:gd name="connsiteY9" fmla="*/ 1585460 h 2041255"/>
              <a:gd name="connsiteX10" fmla="*/ 320516 w 3810000"/>
              <a:gd name="connsiteY10" fmla="*/ 1337577 h 2041255"/>
              <a:gd name="connsiteX11" fmla="*/ 71723 w 3810000"/>
              <a:gd name="connsiteY11" fmla="*/ 1282513 h 2041255"/>
              <a:gd name="connsiteX12" fmla="*/ 71723 w 3810000"/>
              <a:gd name="connsiteY12" fmla="*/ 1061878 h 2041255"/>
              <a:gd name="connsiteX13" fmla="*/ 249555 w 3810000"/>
              <a:gd name="connsiteY13" fmla="*/ 1061878 h 2041255"/>
              <a:gd name="connsiteX14" fmla="*/ 374809 w 3810000"/>
              <a:gd name="connsiteY14" fmla="*/ 1171531 h 2041255"/>
              <a:gd name="connsiteX15" fmla="*/ 249555 w 3810000"/>
              <a:gd name="connsiteY15" fmla="*/ 1282513 h 2041255"/>
              <a:gd name="connsiteX16" fmla="*/ 71723 w 3810000"/>
              <a:gd name="connsiteY16" fmla="*/ 1282513 h 2041255"/>
              <a:gd name="connsiteX17" fmla="*/ 2064925 w 3810000"/>
              <a:gd name="connsiteY17" fmla="*/ 996846 h 2041255"/>
              <a:gd name="connsiteX18" fmla="*/ 2138458 w 3810000"/>
              <a:gd name="connsiteY18" fmla="*/ 996846 h 2041255"/>
              <a:gd name="connsiteX19" fmla="*/ 1963674 w 3810000"/>
              <a:gd name="connsiteY19" fmla="*/ 1585460 h 2041255"/>
              <a:gd name="connsiteX20" fmla="*/ 1858899 w 3810000"/>
              <a:gd name="connsiteY20" fmla="*/ 1585460 h 2041255"/>
              <a:gd name="connsiteX21" fmla="*/ 1711928 w 3810000"/>
              <a:gd name="connsiteY21" fmla="*/ 1106119 h 2041255"/>
              <a:gd name="connsiteX22" fmla="*/ 1564862 w 3810000"/>
              <a:gd name="connsiteY22" fmla="*/ 1585460 h 2041255"/>
              <a:gd name="connsiteX23" fmla="*/ 1460087 w 3810000"/>
              <a:gd name="connsiteY23" fmla="*/ 1585460 h 2041255"/>
              <a:gd name="connsiteX24" fmla="*/ 1285304 w 3810000"/>
              <a:gd name="connsiteY24" fmla="*/ 996846 h 2041255"/>
              <a:gd name="connsiteX25" fmla="*/ 1358837 w 3810000"/>
              <a:gd name="connsiteY25" fmla="*/ 996846 h 2041255"/>
              <a:gd name="connsiteX26" fmla="*/ 1513618 w 3810000"/>
              <a:gd name="connsiteY26" fmla="*/ 1512168 h 2041255"/>
              <a:gd name="connsiteX27" fmla="*/ 1673638 w 3810000"/>
              <a:gd name="connsiteY27" fmla="*/ 1001593 h 2041255"/>
              <a:gd name="connsiteX28" fmla="*/ 1750219 w 3810000"/>
              <a:gd name="connsiteY28" fmla="*/ 1001593 h 2041255"/>
              <a:gd name="connsiteX29" fmla="*/ 1910239 w 3810000"/>
              <a:gd name="connsiteY29" fmla="*/ 1512168 h 2041255"/>
              <a:gd name="connsiteX30" fmla="*/ 2064925 w 3810000"/>
              <a:gd name="connsiteY30" fmla="*/ 996846 h 2041255"/>
              <a:gd name="connsiteX31" fmla="*/ 2366772 w 3810000"/>
              <a:gd name="connsiteY31" fmla="*/ 996846 h 2041255"/>
              <a:gd name="connsiteX32" fmla="*/ 2438495 w 3810000"/>
              <a:gd name="connsiteY32" fmla="*/ 996846 h 2041255"/>
              <a:gd name="connsiteX33" fmla="*/ 2438495 w 3810000"/>
              <a:gd name="connsiteY33" fmla="*/ 1585460 h 2041255"/>
              <a:gd name="connsiteX34" fmla="*/ 2366772 w 3810000"/>
              <a:gd name="connsiteY34" fmla="*/ 1585460 h 2041255"/>
              <a:gd name="connsiteX35" fmla="*/ 2366772 w 3810000"/>
              <a:gd name="connsiteY35" fmla="*/ 996846 h 2041255"/>
              <a:gd name="connsiteX36" fmla="*/ 1098042 w 3810000"/>
              <a:gd name="connsiteY36" fmla="*/ 1585460 h 2041255"/>
              <a:gd name="connsiteX37" fmla="*/ 682752 w 3810000"/>
              <a:gd name="connsiteY37" fmla="*/ 1585460 h 2041255"/>
              <a:gd name="connsiteX38" fmla="*/ 682752 w 3810000"/>
              <a:gd name="connsiteY38" fmla="*/ 996846 h 2041255"/>
              <a:gd name="connsiteX39" fmla="*/ 1088898 w 3810000"/>
              <a:gd name="connsiteY39" fmla="*/ 996846 h 2041255"/>
              <a:gd name="connsiteX40" fmla="*/ 1088898 w 3810000"/>
              <a:gd name="connsiteY40" fmla="*/ 1061878 h 2041255"/>
              <a:gd name="connsiteX41" fmla="*/ 754475 w 3810000"/>
              <a:gd name="connsiteY41" fmla="*/ 1061878 h 2041255"/>
              <a:gd name="connsiteX42" fmla="*/ 754475 w 3810000"/>
              <a:gd name="connsiteY42" fmla="*/ 1250425 h 2041255"/>
              <a:gd name="connsiteX43" fmla="*/ 1043178 w 3810000"/>
              <a:gd name="connsiteY43" fmla="*/ 1250425 h 2041255"/>
              <a:gd name="connsiteX44" fmla="*/ 1043178 w 3810000"/>
              <a:gd name="connsiteY44" fmla="*/ 1315457 h 2041255"/>
              <a:gd name="connsiteX45" fmla="*/ 754475 w 3810000"/>
              <a:gd name="connsiteY45" fmla="*/ 1315457 h 2041255"/>
              <a:gd name="connsiteX46" fmla="*/ 754475 w 3810000"/>
              <a:gd name="connsiteY46" fmla="*/ 1520902 h 2041255"/>
              <a:gd name="connsiteX47" fmla="*/ 1098042 w 3810000"/>
              <a:gd name="connsiteY47" fmla="*/ 1520902 h 2041255"/>
              <a:gd name="connsiteX48" fmla="*/ 1098042 w 3810000"/>
              <a:gd name="connsiteY48" fmla="*/ 1585460 h 2041255"/>
              <a:gd name="connsiteX49" fmla="*/ 3032474 w 3810000"/>
              <a:gd name="connsiteY49" fmla="*/ 1337577 h 2041255"/>
              <a:gd name="connsiteX50" fmla="*/ 3161633 w 3810000"/>
              <a:gd name="connsiteY50" fmla="*/ 1171531 h 2041255"/>
              <a:gd name="connsiteX51" fmla="*/ 2964180 w 3810000"/>
              <a:gd name="connsiteY51" fmla="*/ 996846 h 2041255"/>
              <a:gd name="connsiteX52" fmla="*/ 2711958 w 3810000"/>
              <a:gd name="connsiteY52" fmla="*/ 996846 h 2041255"/>
              <a:gd name="connsiteX53" fmla="*/ 2711958 w 3810000"/>
              <a:gd name="connsiteY53" fmla="*/ 1585460 h 2041255"/>
              <a:gd name="connsiteX54" fmla="*/ 2783681 w 3810000"/>
              <a:gd name="connsiteY54" fmla="*/ 1585460 h 2041255"/>
              <a:gd name="connsiteX55" fmla="*/ 2783681 w 3810000"/>
              <a:gd name="connsiteY55" fmla="*/ 1346217 h 2041255"/>
              <a:gd name="connsiteX56" fmla="*/ 2955036 w 3810000"/>
              <a:gd name="connsiteY56" fmla="*/ 1346217 h 2041255"/>
              <a:gd name="connsiteX57" fmla="*/ 3093720 w 3810000"/>
              <a:gd name="connsiteY57" fmla="*/ 1585460 h 2041255"/>
              <a:gd name="connsiteX58" fmla="*/ 3178493 w 3810000"/>
              <a:gd name="connsiteY58" fmla="*/ 1585460 h 2041255"/>
              <a:gd name="connsiteX59" fmla="*/ 3032474 w 3810000"/>
              <a:gd name="connsiteY59" fmla="*/ 1337577 h 2041255"/>
              <a:gd name="connsiteX60" fmla="*/ 2783777 w 3810000"/>
              <a:gd name="connsiteY60" fmla="*/ 1282513 h 2041255"/>
              <a:gd name="connsiteX61" fmla="*/ 2783777 w 3810000"/>
              <a:gd name="connsiteY61" fmla="*/ 1061878 h 2041255"/>
              <a:gd name="connsiteX62" fmla="*/ 2961608 w 3810000"/>
              <a:gd name="connsiteY62" fmla="*/ 1061878 h 2041255"/>
              <a:gd name="connsiteX63" fmla="*/ 3086862 w 3810000"/>
              <a:gd name="connsiteY63" fmla="*/ 1171531 h 2041255"/>
              <a:gd name="connsiteX64" fmla="*/ 2961608 w 3810000"/>
              <a:gd name="connsiteY64" fmla="*/ 1282513 h 2041255"/>
              <a:gd name="connsiteX65" fmla="*/ 2783777 w 3810000"/>
              <a:gd name="connsiteY65" fmla="*/ 1282513 h 2041255"/>
              <a:gd name="connsiteX66" fmla="*/ 3810000 w 3810000"/>
              <a:gd name="connsiteY66" fmla="*/ 996846 h 2041255"/>
              <a:gd name="connsiteX67" fmla="*/ 3810000 w 3810000"/>
              <a:gd name="connsiteY67" fmla="*/ 1585460 h 2041255"/>
              <a:gd name="connsiteX68" fmla="*/ 3394710 w 3810000"/>
              <a:gd name="connsiteY68" fmla="*/ 1585460 h 2041255"/>
              <a:gd name="connsiteX69" fmla="*/ 3394710 w 3810000"/>
              <a:gd name="connsiteY69" fmla="*/ 1520902 h 2041255"/>
              <a:gd name="connsiteX70" fmla="*/ 3738277 w 3810000"/>
              <a:gd name="connsiteY70" fmla="*/ 1520902 h 2041255"/>
              <a:gd name="connsiteX71" fmla="*/ 3738277 w 3810000"/>
              <a:gd name="connsiteY71" fmla="*/ 1315457 h 2041255"/>
              <a:gd name="connsiteX72" fmla="*/ 3449574 w 3810000"/>
              <a:gd name="connsiteY72" fmla="*/ 1315457 h 2041255"/>
              <a:gd name="connsiteX73" fmla="*/ 3449574 w 3810000"/>
              <a:gd name="connsiteY73" fmla="*/ 1250425 h 2041255"/>
              <a:gd name="connsiteX74" fmla="*/ 3738277 w 3810000"/>
              <a:gd name="connsiteY74" fmla="*/ 1250425 h 2041255"/>
              <a:gd name="connsiteX75" fmla="*/ 3738277 w 3810000"/>
              <a:gd name="connsiteY75" fmla="*/ 1061878 h 2041255"/>
              <a:gd name="connsiteX76" fmla="*/ 3403854 w 3810000"/>
              <a:gd name="connsiteY76" fmla="*/ 1061878 h 2041255"/>
              <a:gd name="connsiteX77" fmla="*/ 3403854 w 3810000"/>
              <a:gd name="connsiteY77" fmla="*/ 996846 h 2041255"/>
              <a:gd name="connsiteX78" fmla="*/ 3810000 w 3810000"/>
              <a:gd name="connsiteY78" fmla="*/ 996846 h 2041255"/>
              <a:gd name="connsiteX79" fmla="*/ 43053 w 3810000"/>
              <a:gd name="connsiteY79" fmla="*/ 2038028 h 2041255"/>
              <a:gd name="connsiteX80" fmla="*/ 0 w 3810000"/>
              <a:gd name="connsiteY80" fmla="*/ 2038028 h 2041255"/>
              <a:gd name="connsiteX81" fmla="*/ 0 w 3810000"/>
              <a:gd name="connsiteY81" fmla="*/ 1822329 h 2041255"/>
              <a:gd name="connsiteX82" fmla="*/ 43053 w 3810000"/>
              <a:gd name="connsiteY82" fmla="*/ 1822329 h 2041255"/>
              <a:gd name="connsiteX83" fmla="*/ 43053 w 3810000"/>
              <a:gd name="connsiteY83" fmla="*/ 2038028 h 2041255"/>
              <a:gd name="connsiteX84" fmla="*/ 115062 w 3810000"/>
              <a:gd name="connsiteY84" fmla="*/ 1822234 h 2041255"/>
              <a:gd name="connsiteX85" fmla="*/ 160687 w 3810000"/>
              <a:gd name="connsiteY85" fmla="*/ 1822234 h 2041255"/>
              <a:gd name="connsiteX86" fmla="*/ 230505 w 3810000"/>
              <a:gd name="connsiteY86" fmla="*/ 1965875 h 2041255"/>
              <a:gd name="connsiteX87" fmla="*/ 300133 w 3810000"/>
              <a:gd name="connsiteY87" fmla="*/ 1822234 h 2041255"/>
              <a:gd name="connsiteX88" fmla="*/ 345758 w 3810000"/>
              <a:gd name="connsiteY88" fmla="*/ 1822234 h 2041255"/>
              <a:gd name="connsiteX89" fmla="*/ 345758 w 3810000"/>
              <a:gd name="connsiteY89" fmla="*/ 2037933 h 2041255"/>
              <a:gd name="connsiteX90" fmla="*/ 302705 w 3810000"/>
              <a:gd name="connsiteY90" fmla="*/ 2037933 h 2041255"/>
              <a:gd name="connsiteX91" fmla="*/ 302705 w 3810000"/>
              <a:gd name="connsiteY91" fmla="*/ 1905590 h 2041255"/>
              <a:gd name="connsiteX92" fmla="*/ 244412 w 3810000"/>
              <a:gd name="connsiteY92" fmla="*/ 2023502 h 2041255"/>
              <a:gd name="connsiteX93" fmla="*/ 216503 w 3810000"/>
              <a:gd name="connsiteY93" fmla="*/ 2023502 h 2041255"/>
              <a:gd name="connsiteX94" fmla="*/ 158210 w 3810000"/>
              <a:gd name="connsiteY94" fmla="*/ 1905590 h 2041255"/>
              <a:gd name="connsiteX95" fmla="*/ 158210 w 3810000"/>
              <a:gd name="connsiteY95" fmla="*/ 2037933 h 2041255"/>
              <a:gd name="connsiteX96" fmla="*/ 115157 w 3810000"/>
              <a:gd name="connsiteY96" fmla="*/ 2037933 h 2041255"/>
              <a:gd name="connsiteX97" fmla="*/ 115157 w 3810000"/>
              <a:gd name="connsiteY97" fmla="*/ 1822234 h 2041255"/>
              <a:gd name="connsiteX98" fmla="*/ 411099 w 3810000"/>
              <a:gd name="connsiteY98" fmla="*/ 2037838 h 2041255"/>
              <a:gd name="connsiteX99" fmla="*/ 411099 w 3810000"/>
              <a:gd name="connsiteY99" fmla="*/ 1822234 h 2041255"/>
              <a:gd name="connsiteX100" fmla="*/ 505778 w 3810000"/>
              <a:gd name="connsiteY100" fmla="*/ 1822234 h 2041255"/>
              <a:gd name="connsiteX101" fmla="*/ 583216 w 3810000"/>
              <a:gd name="connsiteY101" fmla="*/ 1893438 h 2041255"/>
              <a:gd name="connsiteX102" fmla="*/ 505778 w 3810000"/>
              <a:gd name="connsiteY102" fmla="*/ 1963787 h 2041255"/>
              <a:gd name="connsiteX103" fmla="*/ 454342 w 3810000"/>
              <a:gd name="connsiteY103" fmla="*/ 1963787 h 2041255"/>
              <a:gd name="connsiteX104" fmla="*/ 454342 w 3810000"/>
              <a:gd name="connsiteY104" fmla="*/ 2037838 h 2041255"/>
              <a:gd name="connsiteX105" fmla="*/ 411099 w 3810000"/>
              <a:gd name="connsiteY105" fmla="*/ 2037838 h 2041255"/>
              <a:gd name="connsiteX106" fmla="*/ 454342 w 3810000"/>
              <a:gd name="connsiteY106" fmla="*/ 1926571 h 2041255"/>
              <a:gd name="connsiteX107" fmla="*/ 503111 w 3810000"/>
              <a:gd name="connsiteY107" fmla="*/ 1926571 h 2041255"/>
              <a:gd name="connsiteX108" fmla="*/ 539115 w 3810000"/>
              <a:gd name="connsiteY108" fmla="*/ 1893343 h 2041255"/>
              <a:gd name="connsiteX109" fmla="*/ 503111 w 3810000"/>
              <a:gd name="connsiteY109" fmla="*/ 1859355 h 2041255"/>
              <a:gd name="connsiteX110" fmla="*/ 454342 w 3810000"/>
              <a:gd name="connsiteY110" fmla="*/ 1859355 h 2041255"/>
              <a:gd name="connsiteX111" fmla="*/ 454342 w 3810000"/>
              <a:gd name="connsiteY111" fmla="*/ 1926571 h 2041255"/>
              <a:gd name="connsiteX112" fmla="*/ 621983 w 3810000"/>
              <a:gd name="connsiteY112" fmla="*/ 1930558 h 2041255"/>
              <a:gd name="connsiteX113" fmla="*/ 735330 w 3810000"/>
              <a:gd name="connsiteY113" fmla="*/ 1819007 h 2041255"/>
              <a:gd name="connsiteX114" fmla="*/ 848773 w 3810000"/>
              <a:gd name="connsiteY114" fmla="*/ 1930558 h 2041255"/>
              <a:gd name="connsiteX115" fmla="*/ 735330 w 3810000"/>
              <a:gd name="connsiteY115" fmla="*/ 2041161 h 2041255"/>
              <a:gd name="connsiteX116" fmla="*/ 621983 w 3810000"/>
              <a:gd name="connsiteY116" fmla="*/ 1930558 h 2041255"/>
              <a:gd name="connsiteX117" fmla="*/ 735425 w 3810000"/>
              <a:gd name="connsiteY117" fmla="*/ 2001287 h 2041255"/>
              <a:gd name="connsiteX118" fmla="*/ 804577 w 3810000"/>
              <a:gd name="connsiteY118" fmla="*/ 1930463 h 2041255"/>
              <a:gd name="connsiteX119" fmla="*/ 735425 w 3810000"/>
              <a:gd name="connsiteY119" fmla="*/ 1859165 h 2041255"/>
              <a:gd name="connsiteX120" fmla="*/ 666274 w 3810000"/>
              <a:gd name="connsiteY120" fmla="*/ 1930463 h 2041255"/>
              <a:gd name="connsiteX121" fmla="*/ 735425 w 3810000"/>
              <a:gd name="connsiteY121" fmla="*/ 2001287 h 2041255"/>
              <a:gd name="connsiteX122" fmla="*/ 918496 w 3810000"/>
              <a:gd name="connsiteY122" fmla="*/ 1967299 h 2041255"/>
              <a:gd name="connsiteX123" fmla="*/ 974122 w 3810000"/>
              <a:gd name="connsiteY123" fmla="*/ 2002426 h 2041255"/>
              <a:gd name="connsiteX124" fmla="*/ 1011269 w 3810000"/>
              <a:gd name="connsiteY124" fmla="*/ 1978407 h 2041255"/>
              <a:gd name="connsiteX125" fmla="*/ 969359 w 3810000"/>
              <a:gd name="connsiteY125" fmla="*/ 1948407 h 2041255"/>
              <a:gd name="connsiteX126" fmla="*/ 893826 w 3810000"/>
              <a:gd name="connsiteY126" fmla="*/ 1881001 h 2041255"/>
              <a:gd name="connsiteX127" fmla="*/ 970502 w 3810000"/>
              <a:gd name="connsiteY127" fmla="*/ 1819007 h 2041255"/>
              <a:gd name="connsiteX128" fmla="*/ 1050512 w 3810000"/>
              <a:gd name="connsiteY128" fmla="*/ 1865906 h 2041255"/>
              <a:gd name="connsiteX129" fmla="*/ 1017365 w 3810000"/>
              <a:gd name="connsiteY129" fmla="*/ 1889450 h 2041255"/>
              <a:gd name="connsiteX130" fmla="*/ 969359 w 3810000"/>
              <a:gd name="connsiteY130" fmla="*/ 1857836 h 2041255"/>
              <a:gd name="connsiteX131" fmla="*/ 937832 w 3810000"/>
              <a:gd name="connsiteY131" fmla="*/ 1880906 h 2041255"/>
              <a:gd name="connsiteX132" fmla="*/ 980694 w 3810000"/>
              <a:gd name="connsiteY132" fmla="*/ 1910337 h 2041255"/>
              <a:gd name="connsiteX133" fmla="*/ 1055084 w 3810000"/>
              <a:gd name="connsiteY133" fmla="*/ 1978217 h 2041255"/>
              <a:gd name="connsiteX134" fmla="*/ 973646 w 3810000"/>
              <a:gd name="connsiteY134" fmla="*/ 2041256 h 2041255"/>
              <a:gd name="connsiteX135" fmla="*/ 886778 w 3810000"/>
              <a:gd name="connsiteY135" fmla="*/ 1990274 h 2041255"/>
              <a:gd name="connsiteX136" fmla="*/ 918496 w 3810000"/>
              <a:gd name="connsiteY136" fmla="*/ 1967299 h 2041255"/>
              <a:gd name="connsiteX137" fmla="*/ 1124998 w 3810000"/>
              <a:gd name="connsiteY137" fmla="*/ 1967299 h 2041255"/>
              <a:gd name="connsiteX138" fmla="*/ 1180624 w 3810000"/>
              <a:gd name="connsiteY138" fmla="*/ 2002426 h 2041255"/>
              <a:gd name="connsiteX139" fmla="*/ 1217771 w 3810000"/>
              <a:gd name="connsiteY139" fmla="*/ 1978407 h 2041255"/>
              <a:gd name="connsiteX140" fmla="*/ 1175861 w 3810000"/>
              <a:gd name="connsiteY140" fmla="*/ 1948407 h 2041255"/>
              <a:gd name="connsiteX141" fmla="*/ 1100328 w 3810000"/>
              <a:gd name="connsiteY141" fmla="*/ 1881001 h 2041255"/>
              <a:gd name="connsiteX142" fmla="*/ 1177004 w 3810000"/>
              <a:gd name="connsiteY142" fmla="*/ 1819007 h 2041255"/>
              <a:gd name="connsiteX143" fmla="*/ 1257014 w 3810000"/>
              <a:gd name="connsiteY143" fmla="*/ 1865906 h 2041255"/>
              <a:gd name="connsiteX144" fmla="*/ 1223867 w 3810000"/>
              <a:gd name="connsiteY144" fmla="*/ 1889450 h 2041255"/>
              <a:gd name="connsiteX145" fmla="*/ 1175861 w 3810000"/>
              <a:gd name="connsiteY145" fmla="*/ 1857836 h 2041255"/>
              <a:gd name="connsiteX146" fmla="*/ 1144334 w 3810000"/>
              <a:gd name="connsiteY146" fmla="*/ 1880906 h 2041255"/>
              <a:gd name="connsiteX147" fmla="*/ 1187196 w 3810000"/>
              <a:gd name="connsiteY147" fmla="*/ 1910337 h 2041255"/>
              <a:gd name="connsiteX148" fmla="*/ 1261586 w 3810000"/>
              <a:gd name="connsiteY148" fmla="*/ 1978217 h 2041255"/>
              <a:gd name="connsiteX149" fmla="*/ 1180148 w 3810000"/>
              <a:gd name="connsiteY149" fmla="*/ 2041256 h 2041255"/>
              <a:gd name="connsiteX150" fmla="*/ 1093280 w 3810000"/>
              <a:gd name="connsiteY150" fmla="*/ 1990274 h 2041255"/>
              <a:gd name="connsiteX151" fmla="*/ 1124998 w 3810000"/>
              <a:gd name="connsiteY151" fmla="*/ 1967299 h 2041255"/>
              <a:gd name="connsiteX152" fmla="*/ 1362837 w 3810000"/>
              <a:gd name="connsiteY152" fmla="*/ 2038028 h 2041255"/>
              <a:gd name="connsiteX153" fmla="*/ 1319784 w 3810000"/>
              <a:gd name="connsiteY153" fmla="*/ 2038028 h 2041255"/>
              <a:gd name="connsiteX154" fmla="*/ 1319784 w 3810000"/>
              <a:gd name="connsiteY154" fmla="*/ 1822329 h 2041255"/>
              <a:gd name="connsiteX155" fmla="*/ 1362837 w 3810000"/>
              <a:gd name="connsiteY155" fmla="*/ 1822329 h 2041255"/>
              <a:gd name="connsiteX156" fmla="*/ 1362837 w 3810000"/>
              <a:gd name="connsiteY156" fmla="*/ 2038028 h 2041255"/>
              <a:gd name="connsiteX157" fmla="*/ 1428274 w 3810000"/>
              <a:gd name="connsiteY157" fmla="*/ 1822234 h 2041255"/>
              <a:gd name="connsiteX158" fmla="*/ 1527905 w 3810000"/>
              <a:gd name="connsiteY158" fmla="*/ 1822234 h 2041255"/>
              <a:gd name="connsiteX159" fmla="*/ 1594866 w 3810000"/>
              <a:gd name="connsiteY159" fmla="*/ 1881191 h 2041255"/>
              <a:gd name="connsiteX160" fmla="*/ 1565815 w 3810000"/>
              <a:gd name="connsiteY160" fmla="*/ 1925811 h 2041255"/>
              <a:gd name="connsiteX161" fmla="*/ 1602200 w 3810000"/>
              <a:gd name="connsiteY161" fmla="*/ 1978122 h 2041255"/>
              <a:gd name="connsiteX162" fmla="*/ 1534954 w 3810000"/>
              <a:gd name="connsiteY162" fmla="*/ 2038028 h 2041255"/>
              <a:gd name="connsiteX163" fmla="*/ 1428274 w 3810000"/>
              <a:gd name="connsiteY163" fmla="*/ 2038028 h 2041255"/>
              <a:gd name="connsiteX164" fmla="*/ 1428274 w 3810000"/>
              <a:gd name="connsiteY164" fmla="*/ 1822234 h 2041255"/>
              <a:gd name="connsiteX165" fmla="*/ 1471327 w 3810000"/>
              <a:gd name="connsiteY165" fmla="*/ 1859070 h 2041255"/>
              <a:gd name="connsiteX166" fmla="*/ 1471327 w 3810000"/>
              <a:gd name="connsiteY166" fmla="*/ 1911856 h 2041255"/>
              <a:gd name="connsiteX167" fmla="*/ 1522190 w 3810000"/>
              <a:gd name="connsiteY167" fmla="*/ 1911856 h 2041255"/>
              <a:gd name="connsiteX168" fmla="*/ 1550384 w 3810000"/>
              <a:gd name="connsiteY168" fmla="*/ 1885938 h 2041255"/>
              <a:gd name="connsiteX169" fmla="*/ 1520571 w 3810000"/>
              <a:gd name="connsiteY169" fmla="*/ 1859070 h 2041255"/>
              <a:gd name="connsiteX170" fmla="*/ 1471327 w 3810000"/>
              <a:gd name="connsiteY170" fmla="*/ 1859070 h 2041255"/>
              <a:gd name="connsiteX171" fmla="*/ 1471327 w 3810000"/>
              <a:gd name="connsiteY171" fmla="*/ 1945653 h 2041255"/>
              <a:gd name="connsiteX172" fmla="*/ 1471327 w 3810000"/>
              <a:gd name="connsiteY172" fmla="*/ 2001287 h 2041255"/>
              <a:gd name="connsiteX173" fmla="*/ 1527905 w 3810000"/>
              <a:gd name="connsiteY173" fmla="*/ 2001287 h 2041255"/>
              <a:gd name="connsiteX174" fmla="*/ 1556480 w 3810000"/>
              <a:gd name="connsiteY174" fmla="*/ 1974799 h 2041255"/>
              <a:gd name="connsiteX175" fmla="*/ 1527905 w 3810000"/>
              <a:gd name="connsiteY175" fmla="*/ 1945748 h 2041255"/>
              <a:gd name="connsiteX176" fmla="*/ 1471327 w 3810000"/>
              <a:gd name="connsiteY176" fmla="*/ 1945748 h 2041255"/>
              <a:gd name="connsiteX177" fmla="*/ 1819942 w 3810000"/>
              <a:gd name="connsiteY177" fmla="*/ 2038028 h 2041255"/>
              <a:gd name="connsiteX178" fmla="*/ 1660398 w 3810000"/>
              <a:gd name="connsiteY178" fmla="*/ 2038028 h 2041255"/>
              <a:gd name="connsiteX179" fmla="*/ 1660398 w 3810000"/>
              <a:gd name="connsiteY179" fmla="*/ 1822329 h 2041255"/>
              <a:gd name="connsiteX180" fmla="*/ 1703451 w 3810000"/>
              <a:gd name="connsiteY180" fmla="*/ 1822329 h 2041255"/>
              <a:gd name="connsiteX181" fmla="*/ 1703451 w 3810000"/>
              <a:gd name="connsiteY181" fmla="*/ 2001097 h 2041255"/>
              <a:gd name="connsiteX182" fmla="*/ 1819942 w 3810000"/>
              <a:gd name="connsiteY182" fmla="*/ 2001097 h 2041255"/>
              <a:gd name="connsiteX183" fmla="*/ 1819942 w 3810000"/>
              <a:gd name="connsiteY183" fmla="*/ 2038028 h 2041255"/>
              <a:gd name="connsiteX184" fmla="*/ 1869186 w 3810000"/>
              <a:gd name="connsiteY184" fmla="*/ 1822234 h 2041255"/>
              <a:gd name="connsiteX185" fmla="*/ 2023205 w 3810000"/>
              <a:gd name="connsiteY185" fmla="*/ 1822234 h 2041255"/>
              <a:gd name="connsiteX186" fmla="*/ 2023205 w 3810000"/>
              <a:gd name="connsiteY186" fmla="*/ 1859450 h 2041255"/>
              <a:gd name="connsiteX187" fmla="*/ 1912239 w 3810000"/>
              <a:gd name="connsiteY187" fmla="*/ 1859450 h 2041255"/>
              <a:gd name="connsiteX188" fmla="*/ 1912239 w 3810000"/>
              <a:gd name="connsiteY188" fmla="*/ 1909197 h 2041255"/>
              <a:gd name="connsiteX189" fmla="*/ 2008537 w 3810000"/>
              <a:gd name="connsiteY189" fmla="*/ 1909197 h 2041255"/>
              <a:gd name="connsiteX190" fmla="*/ 2008537 w 3810000"/>
              <a:gd name="connsiteY190" fmla="*/ 1946413 h 2041255"/>
              <a:gd name="connsiteX191" fmla="*/ 1912239 w 3810000"/>
              <a:gd name="connsiteY191" fmla="*/ 1946413 h 2041255"/>
              <a:gd name="connsiteX192" fmla="*/ 1912239 w 3810000"/>
              <a:gd name="connsiteY192" fmla="*/ 2001097 h 2041255"/>
              <a:gd name="connsiteX193" fmla="*/ 2025587 w 3810000"/>
              <a:gd name="connsiteY193" fmla="*/ 2001097 h 2041255"/>
              <a:gd name="connsiteX194" fmla="*/ 2025587 w 3810000"/>
              <a:gd name="connsiteY194" fmla="*/ 2038123 h 2041255"/>
              <a:gd name="connsiteX195" fmla="*/ 1869186 w 3810000"/>
              <a:gd name="connsiteY195" fmla="*/ 2038123 h 2041255"/>
              <a:gd name="connsiteX196" fmla="*/ 1869186 w 3810000"/>
              <a:gd name="connsiteY196" fmla="*/ 1822234 h 2041255"/>
              <a:gd name="connsiteX197" fmla="*/ 2195513 w 3810000"/>
              <a:gd name="connsiteY197" fmla="*/ 2038028 h 2041255"/>
              <a:gd name="connsiteX198" fmla="*/ 2195513 w 3810000"/>
              <a:gd name="connsiteY198" fmla="*/ 1822329 h 2041255"/>
              <a:gd name="connsiteX199" fmla="*/ 2234565 w 3810000"/>
              <a:gd name="connsiteY199" fmla="*/ 1822329 h 2041255"/>
              <a:gd name="connsiteX200" fmla="*/ 2354295 w 3810000"/>
              <a:gd name="connsiteY200" fmla="*/ 1970432 h 2041255"/>
              <a:gd name="connsiteX201" fmla="*/ 2354295 w 3810000"/>
              <a:gd name="connsiteY201" fmla="*/ 1822329 h 2041255"/>
              <a:gd name="connsiteX202" fmla="*/ 2397347 w 3810000"/>
              <a:gd name="connsiteY202" fmla="*/ 1822329 h 2041255"/>
              <a:gd name="connsiteX203" fmla="*/ 2397347 w 3810000"/>
              <a:gd name="connsiteY203" fmla="*/ 2038028 h 2041255"/>
              <a:gd name="connsiteX204" fmla="*/ 2357628 w 3810000"/>
              <a:gd name="connsiteY204" fmla="*/ 2038028 h 2041255"/>
              <a:gd name="connsiteX205" fmla="*/ 2238566 w 3810000"/>
              <a:gd name="connsiteY205" fmla="*/ 1891539 h 2041255"/>
              <a:gd name="connsiteX206" fmla="*/ 2238566 w 3810000"/>
              <a:gd name="connsiteY206" fmla="*/ 2038028 h 2041255"/>
              <a:gd name="connsiteX207" fmla="*/ 2195513 w 3810000"/>
              <a:gd name="connsiteY207" fmla="*/ 2038028 h 2041255"/>
              <a:gd name="connsiteX208" fmla="*/ 2455259 w 3810000"/>
              <a:gd name="connsiteY208" fmla="*/ 1930558 h 2041255"/>
              <a:gd name="connsiteX209" fmla="*/ 2568607 w 3810000"/>
              <a:gd name="connsiteY209" fmla="*/ 1819007 h 2041255"/>
              <a:gd name="connsiteX210" fmla="*/ 2682049 w 3810000"/>
              <a:gd name="connsiteY210" fmla="*/ 1930558 h 2041255"/>
              <a:gd name="connsiteX211" fmla="*/ 2568607 w 3810000"/>
              <a:gd name="connsiteY211" fmla="*/ 2041161 h 2041255"/>
              <a:gd name="connsiteX212" fmla="*/ 2455259 w 3810000"/>
              <a:gd name="connsiteY212" fmla="*/ 1930558 h 2041255"/>
              <a:gd name="connsiteX213" fmla="*/ 2568797 w 3810000"/>
              <a:gd name="connsiteY213" fmla="*/ 2001287 h 2041255"/>
              <a:gd name="connsiteX214" fmla="*/ 2637949 w 3810000"/>
              <a:gd name="connsiteY214" fmla="*/ 1930463 h 2041255"/>
              <a:gd name="connsiteX215" fmla="*/ 2568797 w 3810000"/>
              <a:gd name="connsiteY215" fmla="*/ 1859165 h 2041255"/>
              <a:gd name="connsiteX216" fmla="*/ 2499646 w 3810000"/>
              <a:gd name="connsiteY216" fmla="*/ 1930463 h 2041255"/>
              <a:gd name="connsiteX217" fmla="*/ 2568797 w 3810000"/>
              <a:gd name="connsiteY217" fmla="*/ 2001287 h 2041255"/>
              <a:gd name="connsiteX218" fmla="*/ 2852261 w 3810000"/>
              <a:gd name="connsiteY218" fmla="*/ 1822234 h 2041255"/>
              <a:gd name="connsiteX219" fmla="*/ 2897886 w 3810000"/>
              <a:gd name="connsiteY219" fmla="*/ 1822234 h 2041255"/>
              <a:gd name="connsiteX220" fmla="*/ 2967704 w 3810000"/>
              <a:gd name="connsiteY220" fmla="*/ 1965875 h 2041255"/>
              <a:gd name="connsiteX221" fmla="*/ 3037332 w 3810000"/>
              <a:gd name="connsiteY221" fmla="*/ 1822234 h 2041255"/>
              <a:gd name="connsiteX222" fmla="*/ 3082957 w 3810000"/>
              <a:gd name="connsiteY222" fmla="*/ 1822234 h 2041255"/>
              <a:gd name="connsiteX223" fmla="*/ 3082957 w 3810000"/>
              <a:gd name="connsiteY223" fmla="*/ 2037933 h 2041255"/>
              <a:gd name="connsiteX224" fmla="*/ 3039904 w 3810000"/>
              <a:gd name="connsiteY224" fmla="*/ 2037933 h 2041255"/>
              <a:gd name="connsiteX225" fmla="*/ 3039904 w 3810000"/>
              <a:gd name="connsiteY225" fmla="*/ 1905590 h 2041255"/>
              <a:gd name="connsiteX226" fmla="*/ 2981611 w 3810000"/>
              <a:gd name="connsiteY226" fmla="*/ 2023502 h 2041255"/>
              <a:gd name="connsiteX227" fmla="*/ 2953703 w 3810000"/>
              <a:gd name="connsiteY227" fmla="*/ 2023502 h 2041255"/>
              <a:gd name="connsiteX228" fmla="*/ 2895410 w 3810000"/>
              <a:gd name="connsiteY228" fmla="*/ 1905590 h 2041255"/>
              <a:gd name="connsiteX229" fmla="*/ 2895410 w 3810000"/>
              <a:gd name="connsiteY229" fmla="*/ 2037933 h 2041255"/>
              <a:gd name="connsiteX230" fmla="*/ 2852357 w 3810000"/>
              <a:gd name="connsiteY230" fmla="*/ 2037933 h 2041255"/>
              <a:gd name="connsiteX231" fmla="*/ 2852357 w 3810000"/>
              <a:gd name="connsiteY231" fmla="*/ 1822234 h 2041255"/>
              <a:gd name="connsiteX232" fmla="*/ 3140869 w 3810000"/>
              <a:gd name="connsiteY232" fmla="*/ 1930558 h 2041255"/>
              <a:gd name="connsiteX233" fmla="*/ 3254216 w 3810000"/>
              <a:gd name="connsiteY233" fmla="*/ 1819007 h 2041255"/>
              <a:gd name="connsiteX234" fmla="*/ 3367659 w 3810000"/>
              <a:gd name="connsiteY234" fmla="*/ 1930558 h 2041255"/>
              <a:gd name="connsiteX235" fmla="*/ 3254216 w 3810000"/>
              <a:gd name="connsiteY235" fmla="*/ 2041161 h 2041255"/>
              <a:gd name="connsiteX236" fmla="*/ 3140869 w 3810000"/>
              <a:gd name="connsiteY236" fmla="*/ 1930558 h 2041255"/>
              <a:gd name="connsiteX237" fmla="*/ 3254312 w 3810000"/>
              <a:gd name="connsiteY237" fmla="*/ 2001287 h 2041255"/>
              <a:gd name="connsiteX238" fmla="*/ 3323463 w 3810000"/>
              <a:gd name="connsiteY238" fmla="*/ 1930463 h 2041255"/>
              <a:gd name="connsiteX239" fmla="*/ 3254312 w 3810000"/>
              <a:gd name="connsiteY239" fmla="*/ 1859165 h 2041255"/>
              <a:gd name="connsiteX240" fmla="*/ 3185160 w 3810000"/>
              <a:gd name="connsiteY240" fmla="*/ 1930463 h 2041255"/>
              <a:gd name="connsiteX241" fmla="*/ 3254312 w 3810000"/>
              <a:gd name="connsiteY241" fmla="*/ 2001287 h 2041255"/>
              <a:gd name="connsiteX242" fmla="*/ 3419094 w 3810000"/>
              <a:gd name="connsiteY242" fmla="*/ 2037838 h 2041255"/>
              <a:gd name="connsiteX243" fmla="*/ 3419094 w 3810000"/>
              <a:gd name="connsiteY243" fmla="*/ 1822234 h 2041255"/>
              <a:gd name="connsiteX244" fmla="*/ 3514535 w 3810000"/>
              <a:gd name="connsiteY244" fmla="*/ 1822234 h 2041255"/>
              <a:gd name="connsiteX245" fmla="*/ 3591973 w 3810000"/>
              <a:gd name="connsiteY245" fmla="*/ 1891539 h 2041255"/>
              <a:gd name="connsiteX246" fmla="*/ 3551682 w 3810000"/>
              <a:gd name="connsiteY246" fmla="*/ 1952394 h 2041255"/>
              <a:gd name="connsiteX247" fmla="*/ 3600641 w 3810000"/>
              <a:gd name="connsiteY247" fmla="*/ 2038028 h 2041255"/>
              <a:gd name="connsiteX248" fmla="*/ 3553492 w 3810000"/>
              <a:gd name="connsiteY248" fmla="*/ 2038028 h 2041255"/>
              <a:gd name="connsiteX249" fmla="*/ 3509296 w 3810000"/>
              <a:gd name="connsiteY249" fmla="*/ 1959514 h 2041255"/>
              <a:gd name="connsiteX250" fmla="*/ 3462242 w 3810000"/>
              <a:gd name="connsiteY250" fmla="*/ 1959514 h 2041255"/>
              <a:gd name="connsiteX251" fmla="*/ 3462242 w 3810000"/>
              <a:gd name="connsiteY251" fmla="*/ 2037838 h 2041255"/>
              <a:gd name="connsiteX252" fmla="*/ 3419094 w 3810000"/>
              <a:gd name="connsiteY252" fmla="*/ 2037838 h 2041255"/>
              <a:gd name="connsiteX253" fmla="*/ 3462242 w 3810000"/>
              <a:gd name="connsiteY253" fmla="*/ 1922299 h 2041255"/>
              <a:gd name="connsiteX254" fmla="*/ 3511772 w 3810000"/>
              <a:gd name="connsiteY254" fmla="*/ 1922299 h 2041255"/>
              <a:gd name="connsiteX255" fmla="*/ 3547777 w 3810000"/>
              <a:gd name="connsiteY255" fmla="*/ 1891444 h 2041255"/>
              <a:gd name="connsiteX256" fmla="*/ 3511772 w 3810000"/>
              <a:gd name="connsiteY256" fmla="*/ 1859355 h 2041255"/>
              <a:gd name="connsiteX257" fmla="*/ 3462242 w 3810000"/>
              <a:gd name="connsiteY257" fmla="*/ 1859355 h 2041255"/>
              <a:gd name="connsiteX258" fmla="*/ 3462242 w 3810000"/>
              <a:gd name="connsiteY258" fmla="*/ 1922299 h 2041255"/>
              <a:gd name="connsiteX259" fmla="*/ 3653599 w 3810000"/>
              <a:gd name="connsiteY259" fmla="*/ 1822234 h 2041255"/>
              <a:gd name="connsiteX260" fmla="*/ 3807619 w 3810000"/>
              <a:gd name="connsiteY260" fmla="*/ 1822234 h 2041255"/>
              <a:gd name="connsiteX261" fmla="*/ 3807619 w 3810000"/>
              <a:gd name="connsiteY261" fmla="*/ 1859450 h 2041255"/>
              <a:gd name="connsiteX262" fmla="*/ 3696653 w 3810000"/>
              <a:gd name="connsiteY262" fmla="*/ 1859450 h 2041255"/>
              <a:gd name="connsiteX263" fmla="*/ 3696653 w 3810000"/>
              <a:gd name="connsiteY263" fmla="*/ 1909197 h 2041255"/>
              <a:gd name="connsiteX264" fmla="*/ 3792950 w 3810000"/>
              <a:gd name="connsiteY264" fmla="*/ 1909197 h 2041255"/>
              <a:gd name="connsiteX265" fmla="*/ 3792950 w 3810000"/>
              <a:gd name="connsiteY265" fmla="*/ 1946413 h 2041255"/>
              <a:gd name="connsiteX266" fmla="*/ 3696653 w 3810000"/>
              <a:gd name="connsiteY266" fmla="*/ 1946413 h 2041255"/>
              <a:gd name="connsiteX267" fmla="*/ 3696653 w 3810000"/>
              <a:gd name="connsiteY267" fmla="*/ 2001097 h 2041255"/>
              <a:gd name="connsiteX268" fmla="*/ 3810000 w 3810000"/>
              <a:gd name="connsiteY268" fmla="*/ 2001097 h 2041255"/>
              <a:gd name="connsiteX269" fmla="*/ 3810000 w 3810000"/>
              <a:gd name="connsiteY269" fmla="*/ 2038123 h 2041255"/>
              <a:gd name="connsiteX270" fmla="*/ 3653599 w 3810000"/>
              <a:gd name="connsiteY270" fmla="*/ 2038123 h 2041255"/>
              <a:gd name="connsiteX271" fmla="*/ 3653599 w 3810000"/>
              <a:gd name="connsiteY271" fmla="*/ 1822234 h 2041255"/>
              <a:gd name="connsiteX272" fmla="*/ 2320290 w 3810000"/>
              <a:gd name="connsiteY272" fmla="*/ 0 h 2041255"/>
              <a:gd name="connsiteX273" fmla="*/ 1489710 w 3810000"/>
              <a:gd name="connsiteY273" fmla="*/ 0 h 2041255"/>
              <a:gd name="connsiteX274" fmla="*/ 1489710 w 3810000"/>
              <a:gd name="connsiteY274" fmla="*/ 588614 h 2041255"/>
              <a:gd name="connsiteX275" fmla="*/ 2320290 w 3810000"/>
              <a:gd name="connsiteY275" fmla="*/ 588614 h 2041255"/>
              <a:gd name="connsiteX276" fmla="*/ 2320290 w 3810000"/>
              <a:gd name="connsiteY276" fmla="*/ 0 h 2041255"/>
              <a:gd name="connsiteX277" fmla="*/ 2248567 w 3810000"/>
              <a:gd name="connsiteY277" fmla="*/ 253579 h 2041255"/>
              <a:gd name="connsiteX278" fmla="*/ 1959864 w 3810000"/>
              <a:gd name="connsiteY278" fmla="*/ 253579 h 2041255"/>
              <a:gd name="connsiteX279" fmla="*/ 1959864 w 3810000"/>
              <a:gd name="connsiteY279" fmla="*/ 318611 h 2041255"/>
              <a:gd name="connsiteX280" fmla="*/ 2248567 w 3810000"/>
              <a:gd name="connsiteY280" fmla="*/ 318611 h 2041255"/>
              <a:gd name="connsiteX281" fmla="*/ 2248567 w 3810000"/>
              <a:gd name="connsiteY281" fmla="*/ 524056 h 2041255"/>
              <a:gd name="connsiteX282" fmla="*/ 1561433 w 3810000"/>
              <a:gd name="connsiteY282" fmla="*/ 524056 h 2041255"/>
              <a:gd name="connsiteX283" fmla="*/ 1561433 w 3810000"/>
              <a:gd name="connsiteY283" fmla="*/ 318611 h 2041255"/>
              <a:gd name="connsiteX284" fmla="*/ 1850136 w 3810000"/>
              <a:gd name="connsiteY284" fmla="*/ 318611 h 2041255"/>
              <a:gd name="connsiteX285" fmla="*/ 1850136 w 3810000"/>
              <a:gd name="connsiteY285" fmla="*/ 253579 h 2041255"/>
              <a:gd name="connsiteX286" fmla="*/ 1561433 w 3810000"/>
              <a:gd name="connsiteY286" fmla="*/ 253579 h 2041255"/>
              <a:gd name="connsiteX287" fmla="*/ 1561433 w 3810000"/>
              <a:gd name="connsiteY287" fmla="*/ 65032 h 2041255"/>
              <a:gd name="connsiteX288" fmla="*/ 2248567 w 3810000"/>
              <a:gd name="connsiteY288" fmla="*/ 65032 h 2041255"/>
              <a:gd name="connsiteX289" fmla="*/ 2248567 w 3810000"/>
              <a:gd name="connsiteY289" fmla="*/ 253579 h 204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3810000" h="2041255">
                <a:moveTo>
                  <a:pt x="320516" y="1337577"/>
                </a:moveTo>
                <a:cubicBezTo>
                  <a:pt x="400526" y="1316311"/>
                  <a:pt x="449675" y="1256121"/>
                  <a:pt x="449675" y="1171531"/>
                </a:cubicBezTo>
                <a:cubicBezTo>
                  <a:pt x="449675" y="1064062"/>
                  <a:pt x="371856" y="996846"/>
                  <a:pt x="252222" y="996846"/>
                </a:cubicBezTo>
                <a:lnTo>
                  <a:pt x="0" y="996846"/>
                </a:lnTo>
                <a:lnTo>
                  <a:pt x="0" y="1585460"/>
                </a:lnTo>
                <a:lnTo>
                  <a:pt x="71723" y="1585460"/>
                </a:lnTo>
                <a:lnTo>
                  <a:pt x="71723" y="1346217"/>
                </a:lnTo>
                <a:lnTo>
                  <a:pt x="243078" y="1346217"/>
                </a:lnTo>
                <a:lnTo>
                  <a:pt x="381857" y="1585460"/>
                </a:lnTo>
                <a:lnTo>
                  <a:pt x="466630" y="1585460"/>
                </a:lnTo>
                <a:lnTo>
                  <a:pt x="320516" y="1337577"/>
                </a:lnTo>
                <a:close/>
                <a:moveTo>
                  <a:pt x="71723" y="1282513"/>
                </a:moveTo>
                <a:lnTo>
                  <a:pt x="71723" y="1061878"/>
                </a:lnTo>
                <a:lnTo>
                  <a:pt x="249555" y="1061878"/>
                </a:lnTo>
                <a:cubicBezTo>
                  <a:pt x="332137" y="1061878"/>
                  <a:pt x="374809" y="1103936"/>
                  <a:pt x="374809" y="1171531"/>
                </a:cubicBezTo>
                <a:cubicBezTo>
                  <a:pt x="374809" y="1238272"/>
                  <a:pt x="332232" y="1282513"/>
                  <a:pt x="249555" y="1282513"/>
                </a:cubicBezTo>
                <a:lnTo>
                  <a:pt x="71723" y="1282513"/>
                </a:lnTo>
                <a:close/>
                <a:moveTo>
                  <a:pt x="2064925" y="996846"/>
                </a:moveTo>
                <a:lnTo>
                  <a:pt x="2138458" y="996846"/>
                </a:lnTo>
                <a:lnTo>
                  <a:pt x="1963674" y="1585460"/>
                </a:lnTo>
                <a:lnTo>
                  <a:pt x="1858899" y="1585460"/>
                </a:lnTo>
                <a:lnTo>
                  <a:pt x="1711928" y="1106119"/>
                </a:lnTo>
                <a:lnTo>
                  <a:pt x="1564862" y="1585460"/>
                </a:lnTo>
                <a:lnTo>
                  <a:pt x="1460087" y="1585460"/>
                </a:lnTo>
                <a:lnTo>
                  <a:pt x="1285304" y="996846"/>
                </a:lnTo>
                <a:lnTo>
                  <a:pt x="1358837" y="996846"/>
                </a:lnTo>
                <a:lnTo>
                  <a:pt x="1513618" y="1512168"/>
                </a:lnTo>
                <a:lnTo>
                  <a:pt x="1673638" y="1001593"/>
                </a:lnTo>
                <a:lnTo>
                  <a:pt x="1750219" y="1001593"/>
                </a:lnTo>
                <a:lnTo>
                  <a:pt x="1910239" y="1512168"/>
                </a:lnTo>
                <a:lnTo>
                  <a:pt x="2064925" y="996846"/>
                </a:lnTo>
                <a:close/>
                <a:moveTo>
                  <a:pt x="2366772" y="996846"/>
                </a:moveTo>
                <a:lnTo>
                  <a:pt x="2438495" y="996846"/>
                </a:lnTo>
                <a:lnTo>
                  <a:pt x="2438495" y="1585460"/>
                </a:lnTo>
                <a:lnTo>
                  <a:pt x="2366772" y="1585460"/>
                </a:lnTo>
                <a:lnTo>
                  <a:pt x="2366772" y="996846"/>
                </a:lnTo>
                <a:close/>
                <a:moveTo>
                  <a:pt x="1098042" y="1585460"/>
                </a:moveTo>
                <a:lnTo>
                  <a:pt x="682752" y="1585460"/>
                </a:lnTo>
                <a:lnTo>
                  <a:pt x="682752" y="996846"/>
                </a:lnTo>
                <a:lnTo>
                  <a:pt x="1088898" y="996846"/>
                </a:lnTo>
                <a:lnTo>
                  <a:pt x="1088898" y="1061878"/>
                </a:lnTo>
                <a:lnTo>
                  <a:pt x="754475" y="1061878"/>
                </a:lnTo>
                <a:lnTo>
                  <a:pt x="754475" y="1250425"/>
                </a:lnTo>
                <a:lnTo>
                  <a:pt x="1043178" y="1250425"/>
                </a:lnTo>
                <a:lnTo>
                  <a:pt x="1043178" y="1315457"/>
                </a:lnTo>
                <a:lnTo>
                  <a:pt x="754475" y="1315457"/>
                </a:lnTo>
                <a:lnTo>
                  <a:pt x="754475" y="1520902"/>
                </a:lnTo>
                <a:lnTo>
                  <a:pt x="1098042" y="1520902"/>
                </a:lnTo>
                <a:lnTo>
                  <a:pt x="1098042" y="1585460"/>
                </a:lnTo>
                <a:close/>
                <a:moveTo>
                  <a:pt x="3032474" y="1337577"/>
                </a:moveTo>
                <a:cubicBezTo>
                  <a:pt x="3112484" y="1316311"/>
                  <a:pt x="3161633" y="1256121"/>
                  <a:pt x="3161633" y="1171531"/>
                </a:cubicBezTo>
                <a:cubicBezTo>
                  <a:pt x="3161633" y="1064062"/>
                  <a:pt x="3083814" y="996846"/>
                  <a:pt x="2964180" y="996846"/>
                </a:cubicBezTo>
                <a:lnTo>
                  <a:pt x="2711958" y="996846"/>
                </a:lnTo>
                <a:lnTo>
                  <a:pt x="2711958" y="1585460"/>
                </a:lnTo>
                <a:lnTo>
                  <a:pt x="2783681" y="1585460"/>
                </a:lnTo>
                <a:lnTo>
                  <a:pt x="2783681" y="1346217"/>
                </a:lnTo>
                <a:lnTo>
                  <a:pt x="2955036" y="1346217"/>
                </a:lnTo>
                <a:lnTo>
                  <a:pt x="3093720" y="1585460"/>
                </a:lnTo>
                <a:lnTo>
                  <a:pt x="3178493" y="1585460"/>
                </a:lnTo>
                <a:lnTo>
                  <a:pt x="3032474" y="1337577"/>
                </a:lnTo>
                <a:close/>
                <a:moveTo>
                  <a:pt x="2783777" y="1282513"/>
                </a:moveTo>
                <a:lnTo>
                  <a:pt x="2783777" y="1061878"/>
                </a:lnTo>
                <a:lnTo>
                  <a:pt x="2961608" y="1061878"/>
                </a:lnTo>
                <a:cubicBezTo>
                  <a:pt x="3044190" y="1061878"/>
                  <a:pt x="3086862" y="1103936"/>
                  <a:pt x="3086862" y="1171531"/>
                </a:cubicBezTo>
                <a:cubicBezTo>
                  <a:pt x="3086862" y="1238272"/>
                  <a:pt x="3044285" y="1282513"/>
                  <a:pt x="2961608" y="1282513"/>
                </a:cubicBezTo>
                <a:lnTo>
                  <a:pt x="2783777" y="1282513"/>
                </a:lnTo>
                <a:close/>
                <a:moveTo>
                  <a:pt x="3810000" y="996846"/>
                </a:moveTo>
                <a:lnTo>
                  <a:pt x="3810000" y="1585460"/>
                </a:lnTo>
                <a:lnTo>
                  <a:pt x="3394710" y="1585460"/>
                </a:lnTo>
                <a:lnTo>
                  <a:pt x="3394710" y="1520902"/>
                </a:lnTo>
                <a:lnTo>
                  <a:pt x="3738277" y="1520902"/>
                </a:lnTo>
                <a:lnTo>
                  <a:pt x="3738277" y="1315457"/>
                </a:lnTo>
                <a:lnTo>
                  <a:pt x="3449574" y="1315457"/>
                </a:lnTo>
                <a:lnTo>
                  <a:pt x="3449574" y="1250425"/>
                </a:lnTo>
                <a:lnTo>
                  <a:pt x="3738277" y="1250425"/>
                </a:lnTo>
                <a:lnTo>
                  <a:pt x="3738277" y="1061878"/>
                </a:lnTo>
                <a:lnTo>
                  <a:pt x="3403854" y="1061878"/>
                </a:lnTo>
                <a:lnTo>
                  <a:pt x="3403854" y="996846"/>
                </a:lnTo>
                <a:lnTo>
                  <a:pt x="3810000" y="996846"/>
                </a:lnTo>
                <a:close/>
                <a:moveTo>
                  <a:pt x="43053" y="2038028"/>
                </a:moveTo>
                <a:lnTo>
                  <a:pt x="0" y="2038028"/>
                </a:lnTo>
                <a:lnTo>
                  <a:pt x="0" y="1822329"/>
                </a:lnTo>
                <a:lnTo>
                  <a:pt x="43053" y="1822329"/>
                </a:lnTo>
                <a:lnTo>
                  <a:pt x="43053" y="2038028"/>
                </a:lnTo>
                <a:close/>
                <a:moveTo>
                  <a:pt x="115062" y="1822234"/>
                </a:moveTo>
                <a:lnTo>
                  <a:pt x="160687" y="1822234"/>
                </a:lnTo>
                <a:lnTo>
                  <a:pt x="230505" y="1965875"/>
                </a:lnTo>
                <a:lnTo>
                  <a:pt x="300133" y="1822234"/>
                </a:lnTo>
                <a:lnTo>
                  <a:pt x="345758" y="1822234"/>
                </a:lnTo>
                <a:lnTo>
                  <a:pt x="345758" y="2037933"/>
                </a:lnTo>
                <a:lnTo>
                  <a:pt x="302705" y="2037933"/>
                </a:lnTo>
                <a:lnTo>
                  <a:pt x="302705" y="1905590"/>
                </a:lnTo>
                <a:lnTo>
                  <a:pt x="244412" y="2023502"/>
                </a:lnTo>
                <a:lnTo>
                  <a:pt x="216503" y="2023502"/>
                </a:lnTo>
                <a:lnTo>
                  <a:pt x="158210" y="1905590"/>
                </a:lnTo>
                <a:lnTo>
                  <a:pt x="158210" y="2037933"/>
                </a:lnTo>
                <a:lnTo>
                  <a:pt x="115157" y="2037933"/>
                </a:lnTo>
                <a:lnTo>
                  <a:pt x="115157" y="1822234"/>
                </a:lnTo>
                <a:close/>
                <a:moveTo>
                  <a:pt x="411099" y="2037838"/>
                </a:moveTo>
                <a:lnTo>
                  <a:pt x="411099" y="1822234"/>
                </a:lnTo>
                <a:lnTo>
                  <a:pt x="505778" y="1822234"/>
                </a:lnTo>
                <a:cubicBezTo>
                  <a:pt x="552831" y="1822234"/>
                  <a:pt x="583216" y="1851001"/>
                  <a:pt x="583216" y="1893438"/>
                </a:cubicBezTo>
                <a:cubicBezTo>
                  <a:pt x="583216" y="1934071"/>
                  <a:pt x="552736" y="1963787"/>
                  <a:pt x="505778" y="1963787"/>
                </a:cubicBezTo>
                <a:lnTo>
                  <a:pt x="454342" y="1963787"/>
                </a:lnTo>
                <a:lnTo>
                  <a:pt x="454342" y="2037838"/>
                </a:lnTo>
                <a:lnTo>
                  <a:pt x="411099" y="2037838"/>
                </a:lnTo>
                <a:close/>
                <a:moveTo>
                  <a:pt x="454342" y="1926571"/>
                </a:moveTo>
                <a:lnTo>
                  <a:pt x="503111" y="1926571"/>
                </a:lnTo>
                <a:cubicBezTo>
                  <a:pt x="526828" y="1926571"/>
                  <a:pt x="539115" y="1911761"/>
                  <a:pt x="539115" y="1893343"/>
                </a:cubicBezTo>
                <a:cubicBezTo>
                  <a:pt x="539115" y="1873785"/>
                  <a:pt x="526828" y="1859355"/>
                  <a:pt x="503111" y="1859355"/>
                </a:cubicBezTo>
                <a:lnTo>
                  <a:pt x="454342" y="1859355"/>
                </a:lnTo>
                <a:lnTo>
                  <a:pt x="454342" y="1926571"/>
                </a:lnTo>
                <a:close/>
                <a:moveTo>
                  <a:pt x="621983" y="1930558"/>
                </a:moveTo>
                <a:cubicBezTo>
                  <a:pt x="621983" y="1865241"/>
                  <a:pt x="669798" y="1819007"/>
                  <a:pt x="735330" y="1819007"/>
                </a:cubicBezTo>
                <a:cubicBezTo>
                  <a:pt x="801148" y="1819007"/>
                  <a:pt x="848773" y="1865431"/>
                  <a:pt x="848773" y="1930558"/>
                </a:cubicBezTo>
                <a:cubicBezTo>
                  <a:pt x="848773" y="1995686"/>
                  <a:pt x="801148" y="2041161"/>
                  <a:pt x="735330" y="2041161"/>
                </a:cubicBezTo>
                <a:cubicBezTo>
                  <a:pt x="669798" y="2041161"/>
                  <a:pt x="621983" y="1995686"/>
                  <a:pt x="621983" y="1930558"/>
                </a:cubicBezTo>
                <a:close/>
                <a:moveTo>
                  <a:pt x="735425" y="2001287"/>
                </a:moveTo>
                <a:cubicBezTo>
                  <a:pt x="775907" y="2001287"/>
                  <a:pt x="804577" y="1972711"/>
                  <a:pt x="804577" y="1930463"/>
                </a:cubicBezTo>
                <a:cubicBezTo>
                  <a:pt x="804577" y="1888501"/>
                  <a:pt x="775907" y="1859165"/>
                  <a:pt x="735425" y="1859165"/>
                </a:cubicBezTo>
                <a:cubicBezTo>
                  <a:pt x="695230" y="1859165"/>
                  <a:pt x="666274" y="1888596"/>
                  <a:pt x="666274" y="1930463"/>
                </a:cubicBezTo>
                <a:cubicBezTo>
                  <a:pt x="666274" y="1972711"/>
                  <a:pt x="695420" y="2001287"/>
                  <a:pt x="735425" y="2001287"/>
                </a:cubicBezTo>
                <a:close/>
                <a:moveTo>
                  <a:pt x="918496" y="1967299"/>
                </a:moveTo>
                <a:cubicBezTo>
                  <a:pt x="928688" y="1988091"/>
                  <a:pt x="948118" y="2002426"/>
                  <a:pt x="974122" y="2002426"/>
                </a:cubicBezTo>
                <a:cubicBezTo>
                  <a:pt x="994886" y="2002426"/>
                  <a:pt x="1011269" y="1992458"/>
                  <a:pt x="1011269" y="1978407"/>
                </a:cubicBezTo>
                <a:cubicBezTo>
                  <a:pt x="1011269" y="1964071"/>
                  <a:pt x="995172" y="1956476"/>
                  <a:pt x="969359" y="1948407"/>
                </a:cubicBezTo>
                <a:cubicBezTo>
                  <a:pt x="927735" y="1935400"/>
                  <a:pt x="893826" y="1922679"/>
                  <a:pt x="893826" y="1881001"/>
                </a:cubicBezTo>
                <a:cubicBezTo>
                  <a:pt x="893826" y="1840368"/>
                  <a:pt x="933831" y="1819007"/>
                  <a:pt x="970502" y="1819007"/>
                </a:cubicBezTo>
                <a:cubicBezTo>
                  <a:pt x="1009745" y="1819007"/>
                  <a:pt x="1036796" y="1841886"/>
                  <a:pt x="1050512" y="1865906"/>
                </a:cubicBezTo>
                <a:lnTo>
                  <a:pt x="1017365" y="1889450"/>
                </a:lnTo>
                <a:cubicBezTo>
                  <a:pt x="1007936" y="1873691"/>
                  <a:pt x="992314" y="1857836"/>
                  <a:pt x="969359" y="1857836"/>
                </a:cubicBezTo>
                <a:cubicBezTo>
                  <a:pt x="952595" y="1857836"/>
                  <a:pt x="937832" y="1866760"/>
                  <a:pt x="937832" y="1880906"/>
                </a:cubicBezTo>
                <a:cubicBezTo>
                  <a:pt x="937832" y="1898185"/>
                  <a:pt x="953643" y="1900748"/>
                  <a:pt x="980694" y="1910337"/>
                </a:cubicBezTo>
                <a:cubicBezTo>
                  <a:pt x="1021366" y="1924672"/>
                  <a:pt x="1055084" y="1935590"/>
                  <a:pt x="1055084" y="1978217"/>
                </a:cubicBezTo>
                <a:cubicBezTo>
                  <a:pt x="1055084" y="2020464"/>
                  <a:pt x="1012222" y="2041256"/>
                  <a:pt x="973646" y="2041256"/>
                </a:cubicBezTo>
                <a:cubicBezTo>
                  <a:pt x="931926" y="2041256"/>
                  <a:pt x="899732" y="2019515"/>
                  <a:pt x="886778" y="1990274"/>
                </a:cubicBezTo>
                <a:lnTo>
                  <a:pt x="918496" y="1967299"/>
                </a:lnTo>
                <a:close/>
                <a:moveTo>
                  <a:pt x="1124998" y="1967299"/>
                </a:moveTo>
                <a:cubicBezTo>
                  <a:pt x="1135189" y="1988091"/>
                  <a:pt x="1154621" y="2002426"/>
                  <a:pt x="1180624" y="2002426"/>
                </a:cubicBezTo>
                <a:cubicBezTo>
                  <a:pt x="1201388" y="2002426"/>
                  <a:pt x="1217771" y="1992458"/>
                  <a:pt x="1217771" y="1978407"/>
                </a:cubicBezTo>
                <a:cubicBezTo>
                  <a:pt x="1217771" y="1964071"/>
                  <a:pt x="1201674" y="1956476"/>
                  <a:pt x="1175861" y="1948407"/>
                </a:cubicBezTo>
                <a:cubicBezTo>
                  <a:pt x="1134237" y="1935400"/>
                  <a:pt x="1100328" y="1922679"/>
                  <a:pt x="1100328" y="1881001"/>
                </a:cubicBezTo>
                <a:cubicBezTo>
                  <a:pt x="1100328" y="1840368"/>
                  <a:pt x="1140333" y="1819007"/>
                  <a:pt x="1177004" y="1819007"/>
                </a:cubicBezTo>
                <a:cubicBezTo>
                  <a:pt x="1216247" y="1819007"/>
                  <a:pt x="1243298" y="1841886"/>
                  <a:pt x="1257014" y="1865906"/>
                </a:cubicBezTo>
                <a:lnTo>
                  <a:pt x="1223867" y="1889450"/>
                </a:lnTo>
                <a:cubicBezTo>
                  <a:pt x="1214438" y="1873691"/>
                  <a:pt x="1198817" y="1857836"/>
                  <a:pt x="1175861" y="1857836"/>
                </a:cubicBezTo>
                <a:cubicBezTo>
                  <a:pt x="1159097" y="1857836"/>
                  <a:pt x="1144334" y="1866760"/>
                  <a:pt x="1144334" y="1880906"/>
                </a:cubicBezTo>
                <a:cubicBezTo>
                  <a:pt x="1144334" y="1898185"/>
                  <a:pt x="1160145" y="1900748"/>
                  <a:pt x="1187196" y="1910337"/>
                </a:cubicBezTo>
                <a:cubicBezTo>
                  <a:pt x="1227868" y="1924672"/>
                  <a:pt x="1261586" y="1935590"/>
                  <a:pt x="1261586" y="1978217"/>
                </a:cubicBezTo>
                <a:cubicBezTo>
                  <a:pt x="1261586" y="2020464"/>
                  <a:pt x="1218724" y="2041256"/>
                  <a:pt x="1180148" y="2041256"/>
                </a:cubicBezTo>
                <a:cubicBezTo>
                  <a:pt x="1138428" y="2041256"/>
                  <a:pt x="1106234" y="2019515"/>
                  <a:pt x="1093280" y="1990274"/>
                </a:cubicBezTo>
                <a:lnTo>
                  <a:pt x="1124998" y="1967299"/>
                </a:lnTo>
                <a:close/>
                <a:moveTo>
                  <a:pt x="1362837" y="2038028"/>
                </a:moveTo>
                <a:lnTo>
                  <a:pt x="1319784" y="2038028"/>
                </a:lnTo>
                <a:lnTo>
                  <a:pt x="1319784" y="1822329"/>
                </a:lnTo>
                <a:lnTo>
                  <a:pt x="1362837" y="1822329"/>
                </a:lnTo>
                <a:lnTo>
                  <a:pt x="1362837" y="2038028"/>
                </a:lnTo>
                <a:close/>
                <a:moveTo>
                  <a:pt x="1428274" y="1822234"/>
                </a:moveTo>
                <a:lnTo>
                  <a:pt x="1527905" y="1822234"/>
                </a:lnTo>
                <a:cubicBezTo>
                  <a:pt x="1566767" y="1822234"/>
                  <a:pt x="1594866" y="1846254"/>
                  <a:pt x="1594866" y="1881191"/>
                </a:cubicBezTo>
                <a:cubicBezTo>
                  <a:pt x="1594866" y="1895621"/>
                  <a:pt x="1586865" y="1917932"/>
                  <a:pt x="1565815" y="1925811"/>
                </a:cubicBezTo>
                <a:cubicBezTo>
                  <a:pt x="1589913" y="1934831"/>
                  <a:pt x="1602200" y="1955337"/>
                  <a:pt x="1602200" y="1978122"/>
                </a:cubicBezTo>
                <a:cubicBezTo>
                  <a:pt x="1602200" y="2013344"/>
                  <a:pt x="1574959" y="2038028"/>
                  <a:pt x="1534954" y="2038028"/>
                </a:cubicBezTo>
                <a:lnTo>
                  <a:pt x="1428274" y="2038028"/>
                </a:lnTo>
                <a:lnTo>
                  <a:pt x="1428274" y="1822234"/>
                </a:lnTo>
                <a:close/>
                <a:moveTo>
                  <a:pt x="1471327" y="1859070"/>
                </a:moveTo>
                <a:lnTo>
                  <a:pt x="1471327" y="1911856"/>
                </a:lnTo>
                <a:lnTo>
                  <a:pt x="1522190" y="1911856"/>
                </a:lnTo>
                <a:cubicBezTo>
                  <a:pt x="1539907" y="1911856"/>
                  <a:pt x="1550384" y="1900748"/>
                  <a:pt x="1550384" y="1885938"/>
                </a:cubicBezTo>
                <a:cubicBezTo>
                  <a:pt x="1550384" y="1868944"/>
                  <a:pt x="1537621" y="1859070"/>
                  <a:pt x="1520571" y="1859070"/>
                </a:cubicBezTo>
                <a:lnTo>
                  <a:pt x="1471327" y="1859070"/>
                </a:lnTo>
                <a:close/>
                <a:moveTo>
                  <a:pt x="1471327" y="1945653"/>
                </a:moveTo>
                <a:lnTo>
                  <a:pt x="1471327" y="2001287"/>
                </a:lnTo>
                <a:lnTo>
                  <a:pt x="1527905" y="2001287"/>
                </a:lnTo>
                <a:cubicBezTo>
                  <a:pt x="1545146" y="2001287"/>
                  <a:pt x="1556480" y="1990369"/>
                  <a:pt x="1556480" y="1974799"/>
                </a:cubicBezTo>
                <a:cubicBezTo>
                  <a:pt x="1556480" y="1957046"/>
                  <a:pt x="1545336" y="1945748"/>
                  <a:pt x="1527905" y="1945748"/>
                </a:cubicBezTo>
                <a:lnTo>
                  <a:pt x="1471327" y="1945748"/>
                </a:lnTo>
                <a:close/>
                <a:moveTo>
                  <a:pt x="1819942" y="2038028"/>
                </a:moveTo>
                <a:lnTo>
                  <a:pt x="1660398" y="2038028"/>
                </a:lnTo>
                <a:lnTo>
                  <a:pt x="1660398" y="1822329"/>
                </a:lnTo>
                <a:lnTo>
                  <a:pt x="1703451" y="1822329"/>
                </a:lnTo>
                <a:lnTo>
                  <a:pt x="1703451" y="2001097"/>
                </a:lnTo>
                <a:lnTo>
                  <a:pt x="1819942" y="2001097"/>
                </a:lnTo>
                <a:lnTo>
                  <a:pt x="1819942" y="2038028"/>
                </a:lnTo>
                <a:close/>
                <a:moveTo>
                  <a:pt x="1869186" y="1822234"/>
                </a:moveTo>
                <a:lnTo>
                  <a:pt x="2023205" y="1822234"/>
                </a:lnTo>
                <a:lnTo>
                  <a:pt x="2023205" y="1859450"/>
                </a:lnTo>
                <a:lnTo>
                  <a:pt x="1912239" y="1859450"/>
                </a:lnTo>
                <a:lnTo>
                  <a:pt x="1912239" y="1909197"/>
                </a:lnTo>
                <a:lnTo>
                  <a:pt x="2008537" y="1909197"/>
                </a:lnTo>
                <a:lnTo>
                  <a:pt x="2008537" y="1946413"/>
                </a:lnTo>
                <a:lnTo>
                  <a:pt x="1912239" y="1946413"/>
                </a:lnTo>
                <a:lnTo>
                  <a:pt x="1912239" y="2001097"/>
                </a:lnTo>
                <a:lnTo>
                  <a:pt x="2025587" y="2001097"/>
                </a:lnTo>
                <a:lnTo>
                  <a:pt x="2025587" y="2038123"/>
                </a:lnTo>
                <a:lnTo>
                  <a:pt x="1869186" y="2038123"/>
                </a:lnTo>
                <a:lnTo>
                  <a:pt x="1869186" y="1822234"/>
                </a:lnTo>
                <a:close/>
                <a:moveTo>
                  <a:pt x="2195513" y="2038028"/>
                </a:moveTo>
                <a:lnTo>
                  <a:pt x="2195513" y="1822329"/>
                </a:lnTo>
                <a:lnTo>
                  <a:pt x="2234565" y="1822329"/>
                </a:lnTo>
                <a:lnTo>
                  <a:pt x="2354295" y="1970432"/>
                </a:lnTo>
                <a:lnTo>
                  <a:pt x="2354295" y="1822329"/>
                </a:lnTo>
                <a:lnTo>
                  <a:pt x="2397347" y="1822329"/>
                </a:lnTo>
                <a:lnTo>
                  <a:pt x="2397347" y="2038028"/>
                </a:lnTo>
                <a:lnTo>
                  <a:pt x="2357628" y="2038028"/>
                </a:lnTo>
                <a:lnTo>
                  <a:pt x="2238566" y="1891539"/>
                </a:lnTo>
                <a:lnTo>
                  <a:pt x="2238566" y="2038028"/>
                </a:lnTo>
                <a:lnTo>
                  <a:pt x="2195513" y="2038028"/>
                </a:lnTo>
                <a:close/>
                <a:moveTo>
                  <a:pt x="2455259" y="1930558"/>
                </a:moveTo>
                <a:cubicBezTo>
                  <a:pt x="2455259" y="1865241"/>
                  <a:pt x="2503075" y="1819007"/>
                  <a:pt x="2568607" y="1819007"/>
                </a:cubicBezTo>
                <a:cubicBezTo>
                  <a:pt x="2634424" y="1819007"/>
                  <a:pt x="2682049" y="1865431"/>
                  <a:pt x="2682049" y="1930558"/>
                </a:cubicBezTo>
                <a:cubicBezTo>
                  <a:pt x="2682049" y="1995686"/>
                  <a:pt x="2634424" y="2041161"/>
                  <a:pt x="2568607" y="2041161"/>
                </a:cubicBezTo>
                <a:cubicBezTo>
                  <a:pt x="2503075" y="2041161"/>
                  <a:pt x="2455259" y="1995686"/>
                  <a:pt x="2455259" y="1930558"/>
                </a:cubicBezTo>
                <a:close/>
                <a:moveTo>
                  <a:pt x="2568797" y="2001287"/>
                </a:moveTo>
                <a:cubicBezTo>
                  <a:pt x="2609279" y="2001287"/>
                  <a:pt x="2637949" y="1972711"/>
                  <a:pt x="2637949" y="1930463"/>
                </a:cubicBezTo>
                <a:cubicBezTo>
                  <a:pt x="2637949" y="1888501"/>
                  <a:pt x="2609279" y="1859165"/>
                  <a:pt x="2568797" y="1859165"/>
                </a:cubicBezTo>
                <a:cubicBezTo>
                  <a:pt x="2528602" y="1859165"/>
                  <a:pt x="2499646" y="1888596"/>
                  <a:pt x="2499646" y="1930463"/>
                </a:cubicBezTo>
                <a:cubicBezTo>
                  <a:pt x="2499551" y="1972711"/>
                  <a:pt x="2528792" y="2001287"/>
                  <a:pt x="2568797" y="2001287"/>
                </a:cubicBezTo>
                <a:close/>
                <a:moveTo>
                  <a:pt x="2852261" y="1822234"/>
                </a:moveTo>
                <a:lnTo>
                  <a:pt x="2897886" y="1822234"/>
                </a:lnTo>
                <a:lnTo>
                  <a:pt x="2967704" y="1965875"/>
                </a:lnTo>
                <a:lnTo>
                  <a:pt x="3037332" y="1822234"/>
                </a:lnTo>
                <a:lnTo>
                  <a:pt x="3082957" y="1822234"/>
                </a:lnTo>
                <a:lnTo>
                  <a:pt x="3082957" y="2037933"/>
                </a:lnTo>
                <a:lnTo>
                  <a:pt x="3039904" y="2037933"/>
                </a:lnTo>
                <a:lnTo>
                  <a:pt x="3039904" y="1905590"/>
                </a:lnTo>
                <a:lnTo>
                  <a:pt x="2981611" y="2023502"/>
                </a:lnTo>
                <a:lnTo>
                  <a:pt x="2953703" y="2023502"/>
                </a:lnTo>
                <a:lnTo>
                  <a:pt x="2895410" y="1905590"/>
                </a:lnTo>
                <a:lnTo>
                  <a:pt x="2895410" y="2037933"/>
                </a:lnTo>
                <a:lnTo>
                  <a:pt x="2852357" y="2037933"/>
                </a:lnTo>
                <a:lnTo>
                  <a:pt x="2852357" y="1822234"/>
                </a:lnTo>
                <a:close/>
                <a:moveTo>
                  <a:pt x="3140869" y="1930558"/>
                </a:moveTo>
                <a:cubicBezTo>
                  <a:pt x="3140869" y="1865241"/>
                  <a:pt x="3188684" y="1819007"/>
                  <a:pt x="3254216" y="1819007"/>
                </a:cubicBezTo>
                <a:cubicBezTo>
                  <a:pt x="3320034" y="1819007"/>
                  <a:pt x="3367659" y="1865431"/>
                  <a:pt x="3367659" y="1930558"/>
                </a:cubicBezTo>
                <a:cubicBezTo>
                  <a:pt x="3367659" y="1995686"/>
                  <a:pt x="3320034" y="2041161"/>
                  <a:pt x="3254216" y="2041161"/>
                </a:cubicBezTo>
                <a:cubicBezTo>
                  <a:pt x="3188684" y="2041161"/>
                  <a:pt x="3140869" y="1995686"/>
                  <a:pt x="3140869" y="1930558"/>
                </a:cubicBezTo>
                <a:close/>
                <a:moveTo>
                  <a:pt x="3254312" y="2001287"/>
                </a:moveTo>
                <a:cubicBezTo>
                  <a:pt x="3294793" y="2001287"/>
                  <a:pt x="3323463" y="1972711"/>
                  <a:pt x="3323463" y="1930463"/>
                </a:cubicBezTo>
                <a:cubicBezTo>
                  <a:pt x="3323463" y="1888501"/>
                  <a:pt x="3294793" y="1859165"/>
                  <a:pt x="3254312" y="1859165"/>
                </a:cubicBezTo>
                <a:cubicBezTo>
                  <a:pt x="3214116" y="1859165"/>
                  <a:pt x="3185160" y="1888596"/>
                  <a:pt x="3185160" y="1930463"/>
                </a:cubicBezTo>
                <a:cubicBezTo>
                  <a:pt x="3185160" y="1972711"/>
                  <a:pt x="3214307" y="2001287"/>
                  <a:pt x="3254312" y="2001287"/>
                </a:cubicBezTo>
                <a:close/>
                <a:moveTo>
                  <a:pt x="3419094" y="2037838"/>
                </a:moveTo>
                <a:lnTo>
                  <a:pt x="3419094" y="1822234"/>
                </a:lnTo>
                <a:lnTo>
                  <a:pt x="3514535" y="1822234"/>
                </a:lnTo>
                <a:cubicBezTo>
                  <a:pt x="3561588" y="1822234"/>
                  <a:pt x="3591973" y="1850241"/>
                  <a:pt x="3591973" y="1891539"/>
                </a:cubicBezTo>
                <a:cubicBezTo>
                  <a:pt x="3591973" y="1918976"/>
                  <a:pt x="3576828" y="1941571"/>
                  <a:pt x="3551682" y="1952394"/>
                </a:cubicBezTo>
                <a:lnTo>
                  <a:pt x="3600641" y="2038028"/>
                </a:lnTo>
                <a:lnTo>
                  <a:pt x="3553492" y="2038028"/>
                </a:lnTo>
                <a:lnTo>
                  <a:pt x="3509296" y="1959514"/>
                </a:lnTo>
                <a:lnTo>
                  <a:pt x="3462242" y="1959514"/>
                </a:lnTo>
                <a:lnTo>
                  <a:pt x="3462242" y="2037838"/>
                </a:lnTo>
                <a:lnTo>
                  <a:pt x="3419094" y="2037838"/>
                </a:lnTo>
                <a:close/>
                <a:moveTo>
                  <a:pt x="3462242" y="1922299"/>
                </a:moveTo>
                <a:lnTo>
                  <a:pt x="3511772" y="1922299"/>
                </a:lnTo>
                <a:cubicBezTo>
                  <a:pt x="3535490" y="1922299"/>
                  <a:pt x="3547777" y="1907868"/>
                  <a:pt x="3547777" y="1891444"/>
                </a:cubicBezTo>
                <a:cubicBezTo>
                  <a:pt x="3547777" y="1873501"/>
                  <a:pt x="3535490" y="1859355"/>
                  <a:pt x="3511772" y="1859355"/>
                </a:cubicBezTo>
                <a:lnTo>
                  <a:pt x="3462242" y="1859355"/>
                </a:lnTo>
                <a:lnTo>
                  <a:pt x="3462242" y="1922299"/>
                </a:lnTo>
                <a:close/>
                <a:moveTo>
                  <a:pt x="3653599" y="1822234"/>
                </a:moveTo>
                <a:lnTo>
                  <a:pt x="3807619" y="1822234"/>
                </a:lnTo>
                <a:lnTo>
                  <a:pt x="3807619" y="1859450"/>
                </a:lnTo>
                <a:lnTo>
                  <a:pt x="3696653" y="1859450"/>
                </a:lnTo>
                <a:lnTo>
                  <a:pt x="3696653" y="1909197"/>
                </a:lnTo>
                <a:lnTo>
                  <a:pt x="3792950" y="1909197"/>
                </a:lnTo>
                <a:lnTo>
                  <a:pt x="3792950" y="1946413"/>
                </a:lnTo>
                <a:lnTo>
                  <a:pt x="3696653" y="1946413"/>
                </a:lnTo>
                <a:lnTo>
                  <a:pt x="3696653" y="2001097"/>
                </a:lnTo>
                <a:lnTo>
                  <a:pt x="3810000" y="2001097"/>
                </a:lnTo>
                <a:lnTo>
                  <a:pt x="3810000" y="2038123"/>
                </a:lnTo>
                <a:lnTo>
                  <a:pt x="3653599" y="2038123"/>
                </a:lnTo>
                <a:lnTo>
                  <a:pt x="3653599" y="1822234"/>
                </a:lnTo>
                <a:close/>
                <a:moveTo>
                  <a:pt x="2320290" y="0"/>
                </a:moveTo>
                <a:lnTo>
                  <a:pt x="1489710" y="0"/>
                </a:lnTo>
                <a:lnTo>
                  <a:pt x="1489710" y="588614"/>
                </a:lnTo>
                <a:lnTo>
                  <a:pt x="2320290" y="588614"/>
                </a:lnTo>
                <a:lnTo>
                  <a:pt x="2320290" y="0"/>
                </a:lnTo>
                <a:close/>
                <a:moveTo>
                  <a:pt x="2248567" y="253579"/>
                </a:moveTo>
                <a:lnTo>
                  <a:pt x="1959864" y="253579"/>
                </a:lnTo>
                <a:lnTo>
                  <a:pt x="1959864" y="318611"/>
                </a:lnTo>
                <a:lnTo>
                  <a:pt x="2248567" y="318611"/>
                </a:lnTo>
                <a:lnTo>
                  <a:pt x="2248567" y="524056"/>
                </a:lnTo>
                <a:lnTo>
                  <a:pt x="1561433" y="524056"/>
                </a:lnTo>
                <a:lnTo>
                  <a:pt x="1561433" y="318611"/>
                </a:lnTo>
                <a:lnTo>
                  <a:pt x="1850136" y="318611"/>
                </a:lnTo>
                <a:lnTo>
                  <a:pt x="1850136" y="253579"/>
                </a:lnTo>
                <a:lnTo>
                  <a:pt x="1561433" y="253579"/>
                </a:lnTo>
                <a:lnTo>
                  <a:pt x="1561433" y="65032"/>
                </a:lnTo>
                <a:lnTo>
                  <a:pt x="2248567" y="65032"/>
                </a:lnTo>
                <a:lnTo>
                  <a:pt x="2248567" y="253579"/>
                </a:lnTo>
                <a:close/>
              </a:path>
            </a:pathLst>
          </a:custGeom>
          <a:solidFill>
            <a:schemeClr val="tx1"/>
          </a:solidFill>
          <a:ln w="9525" cap="flat">
            <a:noFill/>
            <a:prstDash val="solid"/>
            <a:miter/>
          </a:ln>
        </p:spPr>
        <p:txBody>
          <a:bodyPr rtlCol="0" anchor="ctr"/>
          <a:lstStyle/>
          <a:p>
            <a:pPr rtl="0"/>
            <a:endParaRPr lang="en-US" b="0" i="0">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5" name="Text Placeholder 4">
            <a:extLst>
              <a:ext uri="{FF2B5EF4-FFF2-40B4-BE49-F238E27FC236}">
                <a16:creationId xmlns:a16="http://schemas.microsoft.com/office/drawing/2014/main" id="{E1538EF5-8D49-3A4C-AF9A-361DB295457F}"/>
              </a:ext>
            </a:extLst>
          </p:cNvPr>
          <p:cNvSpPr>
            <a:spLocks noGrp="1"/>
          </p:cNvSpPr>
          <p:nvPr>
            <p:ph type="body" sz="quarter" idx="10" hasCustomPrompt="1"/>
          </p:nvPr>
        </p:nvSpPr>
        <p:spPr>
          <a:xfrm>
            <a:off x="1988509" y="4488532"/>
            <a:ext cx="8216570" cy="508000"/>
          </a:xfrm>
          <a:prstGeom prst="rect">
            <a:avLst/>
          </a:prstGeom>
        </p:spPr>
        <p:txBody>
          <a:bodyPr/>
          <a:lstStyle>
            <a:lvl1pPr algn="ctr">
              <a:defRPr>
                <a:solidFill>
                  <a:schemeClr val="tx1"/>
                </a:solidFill>
                <a:latin typeface="Arial" panose="020B0604020202020204" pitchFamily="34" charset="0"/>
                <a:cs typeface="Arial" panose="020B0604020202020204" pitchFamily="34" charset="0"/>
                <a:sym typeface="Arial" panose="020B0604020202020204" pitchFamily="34" charset="0"/>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lt;background color can be changed&gt;</a:t>
            </a:r>
          </a:p>
        </p:txBody>
      </p:sp>
    </p:spTree>
    <p:extLst>
      <p:ext uri="{BB962C8B-B14F-4D97-AF65-F5344CB8AC3E}">
        <p14:creationId xmlns:p14="http://schemas.microsoft.com/office/powerpoint/2010/main" val="96529191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2/2">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C74E01-9C96-1AA1-2A41-58CD095BB4F9}"/>
              </a:ext>
            </a:extLst>
          </p:cNvPr>
          <p:cNvGraphicFramePr>
            <a:graphicFrameLocks noChangeAspect="1"/>
          </p:cNvGraphicFramePr>
          <p:nvPr userDrawn="1">
            <p:custDataLst>
              <p:tags r:id="rId1"/>
            </p:custDataLst>
            <p:extLst>
              <p:ext uri="{D42A27DB-BD31-4B8C-83A1-F6EECF244321}">
                <p14:modId xmlns:p14="http://schemas.microsoft.com/office/powerpoint/2010/main" val="145890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F8C74E01-9C96-1AA1-2A41-58CD095BB4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6027B08-C268-556E-F827-F45C9D54A407}"/>
              </a:ext>
            </a:extLst>
          </p:cNvPr>
          <p:cNvSpPr/>
          <p:nvPr userDrawn="1"/>
        </p:nvSpPr>
        <p:spPr>
          <a:xfrm>
            <a:off x="0" y="0"/>
            <a:ext cx="60967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1" name="Graphic 8">
            <a:extLst>
              <a:ext uri="{FF2B5EF4-FFF2-40B4-BE49-F238E27FC236}">
                <a16:creationId xmlns:a16="http://schemas.microsoft.com/office/drawing/2014/main" id="{C2493AD6-B282-A333-C0A5-B02E67CAEA82}"/>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pPr rtl="0"/>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4" name="Text Placeholder 7">
            <a:extLst>
              <a:ext uri="{FF2B5EF4-FFF2-40B4-BE49-F238E27FC236}">
                <a16:creationId xmlns:a16="http://schemas.microsoft.com/office/drawing/2014/main" id="{8237D115-E224-FB9C-BF78-CBDDF61160CB}"/>
              </a:ext>
            </a:extLst>
          </p:cNvPr>
          <p:cNvSpPr>
            <a:spLocks noGrp="1"/>
          </p:cNvSpPr>
          <p:nvPr>
            <p:ph type="body" sz="quarter" idx="57" hasCustomPrompt="1"/>
          </p:nvPr>
        </p:nvSpPr>
        <p:spPr>
          <a:xfrm>
            <a:off x="6348413" y="493519"/>
            <a:ext cx="5292725" cy="366254"/>
          </a:xfrm>
          <a:prstGeom prst="rect">
            <a:avLst/>
          </a:prstGeom>
        </p:spPr>
        <p:txBody>
          <a:bodyPr vert="horz" wrap="square" lIns="0" tIns="0" rIns="0" bIns="0" rtlCol="0" anchor="t" anchorCtr="0">
            <a:spAutoFit/>
          </a:bodyPr>
          <a:lstStyle>
            <a:lvl1pPr rtl="0">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a:t>[Optional – Heading]</a:t>
            </a:r>
          </a:p>
        </p:txBody>
      </p:sp>
      <p:sp>
        <p:nvSpPr>
          <p:cNvPr id="16" name="Text Placeholder 7">
            <a:extLst>
              <a:ext uri="{FF2B5EF4-FFF2-40B4-BE49-F238E27FC236}">
                <a16:creationId xmlns:a16="http://schemas.microsoft.com/office/drawing/2014/main" id="{A1AD8532-2350-D0BA-5B8C-9790F6F5640B}"/>
              </a:ext>
            </a:extLst>
          </p:cNvPr>
          <p:cNvSpPr>
            <a:spLocks noGrp="1"/>
          </p:cNvSpPr>
          <p:nvPr>
            <p:ph type="body" sz="quarter" idx="58" hasCustomPrompt="1"/>
          </p:nvPr>
        </p:nvSpPr>
        <p:spPr>
          <a:xfrm>
            <a:off x="552450" y="493519"/>
            <a:ext cx="5292725" cy="366254"/>
          </a:xfrm>
          <a:prstGeom prst="rect">
            <a:avLst/>
          </a:prstGeom>
        </p:spPr>
        <p:txBody>
          <a:bodyPr vert="horz" wrap="square" lIns="0" tIns="0" rIns="0" bIns="0" rtlCol="0" anchor="t" anchorCtr="0">
            <a:spAutoFit/>
          </a:bodyPr>
          <a:lstStyle>
            <a:lvl1pPr rtl="0">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a:t>Slide Title</a:t>
            </a:r>
          </a:p>
        </p:txBody>
      </p:sp>
      <p:sp>
        <p:nvSpPr>
          <p:cNvPr id="17" name="Text Placeholder 2">
            <a:extLst>
              <a:ext uri="{FF2B5EF4-FFF2-40B4-BE49-F238E27FC236}">
                <a16:creationId xmlns:a16="http://schemas.microsoft.com/office/drawing/2014/main" id="{778632DF-757A-D0C3-06FA-8F9ABB37EA19}"/>
              </a:ext>
            </a:extLst>
          </p:cNvPr>
          <p:cNvSpPr>
            <a:spLocks noGrp="1"/>
          </p:cNvSpPr>
          <p:nvPr>
            <p:ph type="body" sz="quarter" idx="18" hasCustomPrompt="1"/>
          </p:nvPr>
        </p:nvSpPr>
        <p:spPr>
          <a:xfrm>
            <a:off x="6348413" y="6493073"/>
            <a:ext cx="4156569" cy="120174"/>
          </a:xfrm>
          <a:prstGeom prst="rect">
            <a:avLst/>
          </a:prstGeom>
        </p:spPr>
        <p:txBody>
          <a:bodyPr bIns="0" anchor="b" anchorCtr="0"/>
          <a:lstStyle>
            <a:lvl1pPr rtl="0">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1) Click to add footnotes (2) Click to add footnotes (3) Click to add footnotes </a:t>
            </a:r>
          </a:p>
        </p:txBody>
      </p:sp>
      <p:sp>
        <p:nvSpPr>
          <p:cNvPr id="18" name="Text Placeholder 2">
            <a:extLst>
              <a:ext uri="{FF2B5EF4-FFF2-40B4-BE49-F238E27FC236}">
                <a16:creationId xmlns:a16="http://schemas.microsoft.com/office/drawing/2014/main" id="{F9F454A0-DDD4-A034-798F-40432A940915}"/>
              </a:ext>
            </a:extLst>
          </p:cNvPr>
          <p:cNvSpPr>
            <a:spLocks noGrp="1"/>
          </p:cNvSpPr>
          <p:nvPr>
            <p:ph type="body" sz="quarter" idx="19" hasCustomPrompt="1"/>
          </p:nvPr>
        </p:nvSpPr>
        <p:spPr>
          <a:xfrm>
            <a:off x="6348413" y="6623050"/>
            <a:ext cx="4156569" cy="117525"/>
          </a:xfrm>
          <a:prstGeom prst="rect">
            <a:avLst/>
          </a:prstGeom>
        </p:spPr>
        <p:txBody>
          <a:bodyPr anchor="ctr" anchorCtr="0"/>
          <a:lstStyle>
            <a:lvl1pPr rtl="0">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US"/>
              <a:t>Source: Click to add sources</a:t>
            </a:r>
          </a:p>
        </p:txBody>
      </p:sp>
      <p:sp>
        <p:nvSpPr>
          <p:cNvPr id="19" name="TextBox 18">
            <a:extLst>
              <a:ext uri="{FF2B5EF4-FFF2-40B4-BE49-F238E27FC236}">
                <a16:creationId xmlns:a16="http://schemas.microsoft.com/office/drawing/2014/main" id="{E98BDC7B-7D36-C533-CD91-F9452CE628C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rtl="0"/>
            <a:r>
              <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20" name="TextBox 19">
            <a:extLst>
              <a:ext uri="{FF2B5EF4-FFF2-40B4-BE49-F238E27FC236}">
                <a16:creationId xmlns:a16="http://schemas.microsoft.com/office/drawing/2014/main" id="{2C7C0672-2FA2-A9F1-C63A-F71D78E88307}"/>
              </a:ext>
            </a:extLst>
          </p:cNvPr>
          <p:cNvSpPr txBox="1"/>
          <p:nvPr userDrawn="1"/>
        </p:nvSpPr>
        <p:spPr>
          <a:xfrm>
            <a:off x="11249590" y="6617463"/>
            <a:ext cx="251999" cy="123111"/>
          </a:xfrm>
          <a:prstGeom prst="rect">
            <a:avLst/>
          </a:prstGeom>
          <a:noFill/>
        </p:spPr>
        <p:txBody>
          <a:bodyPr wrap="square" lIns="0" tIns="0" rIns="0" bIns="0" rtlCol="0">
            <a:spAutoFit/>
          </a:bodyPr>
          <a:lstStyle/>
          <a:p>
            <a:pPr algn="r" rtl="0"/>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pPr algn="r" rtl="0"/>
              <a:t>‹#›</a:t>
            </a:fld>
            <a:endParaRPr lang="en-US"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4" name="Text Placeholder 18">
            <a:extLst>
              <a:ext uri="{FF2B5EF4-FFF2-40B4-BE49-F238E27FC236}">
                <a16:creationId xmlns:a16="http://schemas.microsoft.com/office/drawing/2014/main" id="{DA1C04B8-63E5-36D8-B8C7-067FFC7D6978}"/>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rtl="0">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a:t>Section</a:t>
            </a:r>
          </a:p>
        </p:txBody>
      </p:sp>
    </p:spTree>
    <p:extLst>
      <p:ext uri="{BB962C8B-B14F-4D97-AF65-F5344CB8AC3E}">
        <p14:creationId xmlns:p14="http://schemas.microsoft.com/office/powerpoint/2010/main" val="228903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4385068"/>
              </p:ext>
            </p:extLst>
          </p:nvPr>
        </p:nvGraphicFramePr>
        <p:xfrm>
          <a:off x="1441" y="1441"/>
          <a:ext cx="1440" cy="144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r:embed="rId4"/>
                      <a:stretch>
                        <a:fillRect/>
                      </a:stretch>
                    </p:blipFill>
                    <p:spPr>
                      <a:xfrm>
                        <a:off x="1441" y="1441"/>
                        <a:ext cx="1440" cy="1440"/>
                      </a:xfrm>
                      <a:prstGeom prst="rect">
                        <a:avLst/>
                      </a:prstGeom>
                    </p:spPr>
                  </p:pic>
                </p:oleObj>
              </mc:Fallback>
            </mc:AlternateContent>
          </a:graphicData>
        </a:graphic>
      </p:graphicFrame>
      <p:sp>
        <p:nvSpPr>
          <p:cNvPr id="7" name="Tijdelijke aanduiding voor dianummer 10">
            <a:extLst>
              <a:ext uri="{FF2B5EF4-FFF2-40B4-BE49-F238E27FC236}">
                <a16:creationId xmlns:a16="http://schemas.microsoft.com/office/drawing/2014/main" id="{278B0BB8-8B1C-244F-87CC-78EF7290CB17}"/>
              </a:ext>
            </a:extLst>
          </p:cNvPr>
          <p:cNvSpPr txBox="1">
            <a:spLocks/>
          </p:cNvSpPr>
          <p:nvPr userDrawn="1"/>
        </p:nvSpPr>
        <p:spPr>
          <a:xfrm>
            <a:off x="11229979" y="236931"/>
            <a:ext cx="672166" cy="391169"/>
          </a:xfrm>
          <a:prstGeom prst="rect">
            <a:avLst/>
          </a:prstGeom>
        </p:spPr>
        <p:txBody>
          <a:bodyPr vert="horz" lIns="0" tIns="0" rIns="0" bIns="0" rtlCol="0" anchor="t" anchorCtr="0">
            <a:noAutofit/>
          </a:bodyPr>
          <a:lstStyle>
            <a:defPPr>
              <a:defRPr lang="nl-NL"/>
            </a:defPPr>
            <a:lvl1pPr marL="0" algn="l" defTabSz="914400" rtl="0" eaLnBrk="1" latinLnBrk="0" hangingPunct="1">
              <a:defRPr lang="en-US" sz="1400" kern="1200" smtClean="0">
                <a:solidFill>
                  <a:srgbClr val="40665A"/>
                </a:solidFill>
                <a:latin typeface="+mj-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C078131F-F265-4619-8472-A0104F09205B}" type="slidenum">
              <a:rPr lang="en-US" sz="1633" b="0" i="0" smtClean="0">
                <a:solidFill>
                  <a:schemeClr val="accent1"/>
                </a:solidFill>
                <a:latin typeface="Arial" panose="020B0604020202020204" pitchFamily="34" charset="0"/>
                <a:cs typeface="Arial" panose="020B0604020202020204" pitchFamily="34" charset="0"/>
                <a:sym typeface="Arial" panose="020B0604020202020204" pitchFamily="34" charset="0"/>
              </a:rPr>
              <a:pPr algn="r" rtl="0"/>
              <a:t>‹#›</a:t>
            </a:fld>
            <a:endParaRPr lang="en-US" sz="1633" b="0" i="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8" name="Footer Placeholder 4"/>
          <p:cNvSpPr>
            <a:spLocks noGrp="1"/>
          </p:cNvSpPr>
          <p:nvPr>
            <p:ph type="ftr" sz="quarter" idx="3"/>
          </p:nvPr>
        </p:nvSpPr>
        <p:spPr>
          <a:xfrm>
            <a:off x="715185" y="6356827"/>
            <a:ext cx="3860007" cy="364359"/>
          </a:xfrm>
          <a:prstGeom prst="rect">
            <a:avLst/>
          </a:prstGeom>
        </p:spPr>
        <p:txBody>
          <a:bodyPr vert="horz" lIns="91440" tIns="45720" rIns="91440" bIns="45720" rtlCol="0" anchor="ctr"/>
          <a:lstStyle>
            <a:lvl1pPr algn="l" rtl="0">
              <a:defRPr sz="907">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Rewire.nl | Scaling impact from Data &amp; AI</a:t>
            </a:r>
            <a:endParaRPr lang="en-US" dirty="0"/>
          </a:p>
        </p:txBody>
      </p:sp>
    </p:spTree>
    <p:extLst>
      <p:ext uri="{BB962C8B-B14F-4D97-AF65-F5344CB8AC3E}">
        <p14:creationId xmlns:p14="http://schemas.microsoft.com/office/powerpoint/2010/main" val="36184638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1EE7A2D-2F35-5EF6-081C-B5FB5EDBE2CB}"/>
              </a:ext>
            </a:extLst>
          </p:cNvPr>
          <p:cNvGraphicFramePr>
            <a:graphicFrameLocks noChangeAspect="1"/>
          </p:cNvGraphicFramePr>
          <p:nvPr userDrawn="1">
            <p:custDataLst>
              <p:tags r:id="rId1"/>
            </p:custDataLst>
            <p:extLst>
              <p:ext uri="{D42A27DB-BD31-4B8C-83A1-F6EECF244321}">
                <p14:modId xmlns:p14="http://schemas.microsoft.com/office/powerpoint/2010/main" val="166496269"/>
              </p:ext>
            </p:extLst>
          </p:nvPr>
        </p:nvGraphicFramePr>
        <p:xfrm>
          <a:off x="1441" y="1440"/>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11EE7A2D-2F35-5EF6-081C-B5FB5EDBE2CB}"/>
                          </a:ext>
                        </a:extLst>
                      </p:cNvPr>
                      <p:cNvPicPr/>
                      <p:nvPr/>
                    </p:nvPicPr>
                    <p:blipFill>
                      <a:blip r:embed="rId5"/>
                      <a:stretch>
                        <a:fillRect/>
                      </a:stretch>
                    </p:blipFill>
                    <p:spPr>
                      <a:xfrm>
                        <a:off x="1441" y="1440"/>
                        <a:ext cx="1441" cy="1441"/>
                      </a:xfrm>
                      <a:prstGeom prst="rect">
                        <a:avLst/>
                      </a:prstGeom>
                    </p:spPr>
                  </p:pic>
                </p:oleObj>
              </mc:Fallback>
            </mc:AlternateContent>
          </a:graphicData>
        </a:graphic>
      </p:graphicFrame>
      <p:sp>
        <p:nvSpPr>
          <p:cNvPr id="13" name="Date Placeholder 4"/>
          <p:cNvSpPr>
            <a:spLocks noGrp="1"/>
          </p:cNvSpPr>
          <p:nvPr>
            <p:ph type="dt" sz="half" idx="10"/>
          </p:nvPr>
        </p:nvSpPr>
        <p:spPr>
          <a:xfrm>
            <a:off x="9678661" y="6405036"/>
            <a:ext cx="1482244" cy="153888"/>
          </a:xfrm>
          <a:prstGeom prst="rect">
            <a:avLst/>
          </a:prstGeom>
        </p:spPr>
        <p:txBody>
          <a:bodyPr/>
          <a:lstStyle>
            <a:lvl1pPr rtl="0">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15" name="TextBox 14"/>
          <p:cNvSpPr txBox="1"/>
          <p:nvPr userDrawn="1"/>
        </p:nvSpPr>
        <p:spPr>
          <a:xfrm>
            <a:off x="11169327" y="6405036"/>
            <a:ext cx="381050" cy="153888"/>
          </a:xfrm>
          <a:prstGeom prst="rect">
            <a:avLst/>
          </a:prstGeom>
          <a:noFill/>
        </p:spPr>
        <p:txBody>
          <a:bodyPr wrap="square" lIns="0" tIns="0" rIns="0" bIns="0" rtlCol="0" anchor="b">
            <a:spAutoFit/>
          </a:bodyPr>
          <a:lstStyle/>
          <a:p>
            <a:pPr marL="0" marR="0" indent="0" algn="r" defTabSz="914406"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406"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Title 3"/>
          <p:cNvSpPr>
            <a:spLocks noGrp="1"/>
          </p:cNvSpPr>
          <p:nvPr>
            <p:ph type="title" hasCustomPrompt="1"/>
          </p:nvPr>
        </p:nvSpPr>
        <p:spPr>
          <a:xfrm>
            <a:off x="630082" y="622800"/>
            <a:ext cx="6257615"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Arial" panose="020B0604020202020204" pitchFamily="34" charset="0"/>
                <a:cs typeface="Arial" panose="020B0604020202020204" pitchFamily="34" charset="0"/>
                <a:sym typeface="Arial" panose="020B0604020202020204" pitchFamily="34" charset="0"/>
              </a:defRPr>
            </a:lvl1pPr>
          </a:lstStyle>
          <a:p>
            <a:pPr lvl="0"/>
            <a:r>
              <a:rPr lang="en-US"/>
              <a:t>Click to add title</a:t>
            </a:r>
          </a:p>
        </p:txBody>
      </p:sp>
      <p:sp>
        <p:nvSpPr>
          <p:cNvPr id="14" name="FooterSimple" hidden="1"/>
          <p:cNvSpPr txBox="1"/>
          <p:nvPr userDrawn="1">
            <p:custDataLst>
              <p:tags r:id="rId2"/>
            </p:custDataLst>
          </p:nvPr>
        </p:nvSpPr>
        <p:spPr>
          <a:xfrm rot="16200000">
            <a:off x="10562874" y="5117886"/>
            <a:ext cx="2743200" cy="96950"/>
          </a:xfrm>
          <a:prstGeom prst="rect">
            <a:avLst/>
          </a:prstGeom>
          <a:noFill/>
        </p:spPr>
        <p:txBody>
          <a:bodyPr wrap="square" lIns="0" tIns="0" rIns="0" bIns="0" rtlCol="0" anchor="b">
            <a:spAutoFit/>
          </a:bodyPr>
          <a:lstStyle/>
          <a:p>
            <a:pPr rtl="0">
              <a:lnSpc>
                <a:spcPct val="90000"/>
              </a:lnSpc>
              <a:spcAft>
                <a:spcPts val="600"/>
              </a:spcAft>
            </a:pPr>
            <a:r>
              <a:rPr lang="en-US" sz="700">
                <a:solidFill>
                  <a:schemeClr val="bg1"/>
                </a:solidFill>
                <a:latin typeface="Arial" panose="020B0604020202020204" pitchFamily="34" charset="0"/>
                <a:cs typeface="Arial" panose="020B0604020202020204" pitchFamily="34" charset="0"/>
                <a:sym typeface="Arial" panose="020B0604020202020204" pitchFamily="34" charset="0"/>
              </a:rPr>
              <a:t>Rewire Compentency Model V0.9.pptx</a:t>
            </a:r>
          </a:p>
        </p:txBody>
      </p:sp>
    </p:spTree>
    <p:extLst>
      <p:ext uri="{BB962C8B-B14F-4D97-AF65-F5344CB8AC3E}">
        <p14:creationId xmlns:p14="http://schemas.microsoft.com/office/powerpoint/2010/main" val="3313179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45362452"/>
              </p:ext>
            </p:extLst>
          </p:nvPr>
        </p:nvGraphicFramePr>
        <p:xfrm>
          <a:off x="1441" y="1441"/>
          <a:ext cx="1440" cy="144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r:embed="rId4"/>
                      <a:stretch>
                        <a:fillRect/>
                      </a:stretch>
                    </p:blipFill>
                    <p:spPr>
                      <a:xfrm>
                        <a:off x="1441" y="1441"/>
                        <a:ext cx="1440" cy="1440"/>
                      </a:xfrm>
                      <a:prstGeom prst="rect">
                        <a:avLst/>
                      </a:prstGeom>
                    </p:spPr>
                  </p:pic>
                </p:oleObj>
              </mc:Fallback>
            </mc:AlternateContent>
          </a:graphicData>
        </a:graphic>
      </p:graphicFrame>
      <p:sp>
        <p:nvSpPr>
          <p:cNvPr id="7" name="Tijdelijke aanduiding voor dianummer 10">
            <a:extLst>
              <a:ext uri="{FF2B5EF4-FFF2-40B4-BE49-F238E27FC236}">
                <a16:creationId xmlns:a16="http://schemas.microsoft.com/office/drawing/2014/main" id="{278B0BB8-8B1C-244F-87CC-78EF7290CB17}"/>
              </a:ext>
            </a:extLst>
          </p:cNvPr>
          <p:cNvSpPr txBox="1">
            <a:spLocks/>
          </p:cNvSpPr>
          <p:nvPr userDrawn="1"/>
        </p:nvSpPr>
        <p:spPr>
          <a:xfrm>
            <a:off x="11229979" y="236931"/>
            <a:ext cx="672166" cy="391169"/>
          </a:xfrm>
          <a:prstGeom prst="rect">
            <a:avLst/>
          </a:prstGeom>
        </p:spPr>
        <p:txBody>
          <a:bodyPr vert="horz" lIns="0" tIns="0" rIns="0" bIns="0" rtlCol="0" anchor="t" anchorCtr="0">
            <a:noAutofit/>
          </a:bodyPr>
          <a:lstStyle>
            <a:defPPr>
              <a:defRPr lang="nl-NL"/>
            </a:defPPr>
            <a:lvl1pPr marL="0" algn="l" defTabSz="914400" rtl="0" eaLnBrk="1" latinLnBrk="0" hangingPunct="1">
              <a:defRPr lang="en-US" sz="1400" kern="1200" smtClean="0">
                <a:solidFill>
                  <a:srgbClr val="40665A"/>
                </a:solidFill>
                <a:latin typeface="+mj-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C078131F-F265-4619-8472-A0104F09205B}" type="slidenum">
              <a:rPr lang="en-US" sz="1633" b="0" i="0" smtClean="0">
                <a:solidFill>
                  <a:schemeClr val="accent1"/>
                </a:solidFill>
                <a:latin typeface="Arial" panose="020B0604020202020204" pitchFamily="34" charset="0"/>
                <a:cs typeface="Arial" panose="020B0604020202020204" pitchFamily="34" charset="0"/>
                <a:sym typeface="Arial" panose="020B0604020202020204" pitchFamily="34" charset="0"/>
              </a:rPr>
              <a:pPr algn="r" rtl="0"/>
              <a:t>‹#›</a:t>
            </a:fld>
            <a:endParaRPr lang="en-US" sz="1633" b="0" i="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8" name="Footer Placeholder 4"/>
          <p:cNvSpPr>
            <a:spLocks noGrp="1"/>
          </p:cNvSpPr>
          <p:nvPr>
            <p:ph type="ftr" sz="quarter" idx="3"/>
          </p:nvPr>
        </p:nvSpPr>
        <p:spPr>
          <a:xfrm>
            <a:off x="715185" y="6356827"/>
            <a:ext cx="3860007" cy="364359"/>
          </a:xfrm>
          <a:prstGeom prst="rect">
            <a:avLst/>
          </a:prstGeom>
        </p:spPr>
        <p:txBody>
          <a:bodyPr vert="horz" lIns="91440" tIns="45720" rIns="91440" bIns="45720" rtlCol="0" anchor="ctr"/>
          <a:lstStyle>
            <a:lvl1pPr algn="l" rtl="0">
              <a:defRPr sz="907">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Rewire.nl | Scaling impact from Data &amp; AI</a:t>
            </a:r>
            <a:endParaRPr lang="en-US" dirty="0"/>
          </a:p>
        </p:txBody>
      </p:sp>
      <p:sp>
        <p:nvSpPr>
          <p:cNvPr id="10" name="Text Placeholder 6">
            <a:extLst>
              <a:ext uri="{FF2B5EF4-FFF2-40B4-BE49-F238E27FC236}">
                <a16:creationId xmlns:a16="http://schemas.microsoft.com/office/drawing/2014/main" id="{1CF8E39D-555E-422A-8E55-47DBCF6EACB7}"/>
              </a:ext>
            </a:extLst>
          </p:cNvPr>
          <p:cNvSpPr>
            <a:spLocks noGrp="1"/>
          </p:cNvSpPr>
          <p:nvPr>
            <p:ph type="body" sz="quarter" idx="20"/>
          </p:nvPr>
        </p:nvSpPr>
        <p:spPr>
          <a:xfrm>
            <a:off x="715185" y="589279"/>
            <a:ext cx="10188955" cy="326517"/>
          </a:xfrm>
          <a:prstGeom prst="rect">
            <a:avLst/>
          </a:prstGeom>
        </p:spPr>
        <p:txBody>
          <a:bodyPr lIns="0" tIns="0" rIns="0" bIns="0" anchor="ctr" anchorCtr="0">
            <a:noAutofit/>
          </a:bodyPr>
          <a:lstStyle>
            <a:lvl1pPr marL="338443" indent="-338443" rtl="0">
              <a:buNone/>
              <a:defRPr lang="en-US" sz="2540" cap="none" baseline="0" dirty="0">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defRPr>
            </a:lvl1pPr>
          </a:lstStyle>
          <a:p>
            <a:pPr marL="338666" lvl="0" indent="-338666">
              <a:lnSpc>
                <a:spcPct val="100000"/>
              </a:lnSpc>
              <a:spcBef>
                <a:spcPts val="0"/>
              </a:spcBef>
              <a:spcAft>
                <a:spcPts val="0"/>
              </a:spcAft>
            </a:pPr>
            <a:endParaRPr lang="en-US"/>
          </a:p>
        </p:txBody>
      </p:sp>
    </p:spTree>
    <p:extLst>
      <p:ext uri="{BB962C8B-B14F-4D97-AF65-F5344CB8AC3E}">
        <p14:creationId xmlns:p14="http://schemas.microsoft.com/office/powerpoint/2010/main" val="28741924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D5BB9CE-C574-002F-90D4-03AA06EDE8F4}"/>
              </a:ext>
            </a:extLst>
          </p:cNvPr>
          <p:cNvGraphicFramePr>
            <a:graphicFrameLocks noChangeAspect="1"/>
          </p:cNvGraphicFramePr>
          <p:nvPr userDrawn="1">
            <p:custDataLst>
              <p:tags r:id="rId1"/>
            </p:custDataLst>
            <p:extLst>
              <p:ext uri="{D42A27DB-BD31-4B8C-83A1-F6EECF244321}">
                <p14:modId xmlns:p14="http://schemas.microsoft.com/office/powerpoint/2010/main" val="363007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5D5BB9CE-C574-002F-90D4-03AA06EDE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18"/>
          <p:cNvSpPr>
            <a:spLocks noGrp="1"/>
          </p:cNvSpPr>
          <p:nvPr>
            <p:ph idx="1"/>
          </p:nvPr>
        </p:nvSpPr>
        <p:spPr>
          <a:xfrm>
            <a:off x="469962" y="1676402"/>
            <a:ext cx="11253665" cy="4622799"/>
          </a:xfrm>
          <a:prstGeom prst="rect">
            <a:avLst/>
          </a:prstGeom>
        </p:spPr>
        <p:txBody>
          <a:bodyPr vert="horz" lIns="0" tIns="0" rIns="0" bIns="0" rtlCol="0">
            <a:noAutofit/>
          </a:bodyPr>
          <a:lstStyle>
            <a:lvl1pPr>
              <a:defRPr sz="1400">
                <a:latin typeface="Arial" panose="020B0604020202020204" pitchFamily="34" charset="0"/>
                <a:cs typeface="Arial" panose="020B0604020202020204" pitchFamily="34" charset="0"/>
                <a:sym typeface="Arial" panose="020B0604020202020204" pitchFamily="34" charset="0"/>
              </a:defRPr>
            </a:lvl1pPr>
            <a:lvl2pPr>
              <a:defRPr sz="1400">
                <a:latin typeface="Arial" panose="020B0604020202020204" pitchFamily="34" charset="0"/>
                <a:cs typeface="Arial" panose="020B0604020202020204" pitchFamily="34" charset="0"/>
                <a:sym typeface="Arial" panose="020B0604020202020204" pitchFamily="34" charset="0"/>
              </a:defRPr>
            </a:lvl2pPr>
            <a:lvl3pPr>
              <a:defRPr sz="1400">
                <a:latin typeface="Arial" panose="020B0604020202020204" pitchFamily="34" charset="0"/>
                <a:cs typeface="Arial" panose="020B0604020202020204" pitchFamily="34" charset="0"/>
                <a:sym typeface="Arial" panose="020B0604020202020204" pitchFamily="34" charset="0"/>
              </a:defRPr>
            </a:lvl3pPr>
            <a:lvl4pPr>
              <a:defRPr sz="1400">
                <a:latin typeface="Arial" panose="020B0604020202020204" pitchFamily="34" charset="0"/>
                <a:cs typeface="Arial" panose="020B0604020202020204" pitchFamily="34" charset="0"/>
                <a:sym typeface="Arial" panose="020B0604020202020204" pitchFamily="34" charset="0"/>
              </a:defRPr>
            </a:lvl4pPr>
            <a:lvl5pPr>
              <a:defRPr sz="1400">
                <a:latin typeface="Arial" panose="020B0604020202020204" pitchFamily="34" charset="0"/>
                <a:cs typeface="Arial" panose="020B0604020202020204" pitchFamily="34" charset="0"/>
                <a:sym typeface="Arial" panose="020B0604020202020204" pitchFamily="34" charset="0"/>
              </a:defRPr>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62" y="784314"/>
            <a:ext cx="11253665" cy="757255"/>
          </a:xfrm>
          <a:prstGeom prst="rect">
            <a:avLst/>
          </a:prstGeom>
        </p:spPr>
        <p:txBody>
          <a:bodyPr lIns="0" tIns="0" rIns="0" bIns="0">
            <a:noAutofit/>
          </a:bodyPr>
          <a:lstStyle>
            <a:lvl1pPr marL="0" indent="0">
              <a:buNone/>
              <a:defRPr lang="en-US" sz="1800" b="0" kern="1200" noProof="0" dirty="0">
                <a:solidFill>
                  <a:srgbClr val="A7A8AA"/>
                </a:solidFill>
                <a:latin typeface="Arial" panose="020B0604020202020204" pitchFamily="34" charset="0"/>
                <a:ea typeface="+mn-ea"/>
                <a:cs typeface="Arial" panose="020B0604020202020204" pitchFamily="34" charset="0"/>
                <a:sym typeface="Arial" panose="020B0604020202020204" pitchFamily="34" charset="0"/>
              </a:defRPr>
            </a:lvl1pPr>
          </a:lstStyle>
          <a:p>
            <a:pPr marL="0" lvl="0" indent="0" algn="l" defTabSz="914406" rtl="0" eaLnBrk="1" latinLnBrk="0" hangingPunct="1">
              <a:spcBef>
                <a:spcPts val="0"/>
              </a:spcBef>
              <a:spcAft>
                <a:spcPts val="1000"/>
              </a:spcAft>
              <a:buSzPct val="100000"/>
              <a:buFontTx/>
              <a:buNone/>
            </a:pPr>
            <a:r>
              <a:rPr lang="en-US" noProof="0" dirty="0"/>
              <a:t>Click to add subtitle</a:t>
            </a:r>
          </a:p>
        </p:txBody>
      </p:sp>
      <p:sp>
        <p:nvSpPr>
          <p:cNvPr id="6" name="Title Placeholder 1"/>
          <p:cNvSpPr>
            <a:spLocks noGrp="1"/>
          </p:cNvSpPr>
          <p:nvPr>
            <p:ph type="title" hasCustomPrompt="1"/>
          </p:nvPr>
        </p:nvSpPr>
        <p:spPr>
          <a:xfrm>
            <a:off x="469962" y="402587"/>
            <a:ext cx="11253665" cy="338328"/>
          </a:xfrm>
          <a:prstGeom prst="rect">
            <a:avLst/>
          </a:prstGeom>
        </p:spPr>
        <p:txBody>
          <a:bodyPr vert="horz" lIns="0" tIns="0" rIns="0" bIns="0" rtlCol="0" anchor="t" anchorCtr="0">
            <a:noAutofit/>
          </a:bodyPr>
          <a:lstStyle>
            <a:lvl1pPr algn="l" defTabSz="1219178" rtl="0" eaLnBrk="1" latinLnBrk="0" hangingPunct="1">
              <a:spcBef>
                <a:spcPct val="0"/>
              </a:spcBef>
              <a:buNone/>
              <a:defRPr lang="en-US" sz="2100" kern="1200" noProof="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noProof="0" dirty="0"/>
              <a:t>Click to edit Master title style</a:t>
            </a:r>
          </a:p>
        </p:txBody>
      </p:sp>
    </p:spTree>
    <p:extLst>
      <p:ext uri="{BB962C8B-B14F-4D97-AF65-F5344CB8AC3E}">
        <p14:creationId xmlns:p14="http://schemas.microsoft.com/office/powerpoint/2010/main" val="410104562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NAL - Check Margins">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042315-B862-0611-BD64-C3E8F591A3ED}"/>
              </a:ext>
            </a:extLst>
          </p:cNvPr>
          <p:cNvGraphicFramePr>
            <a:graphicFrameLocks noChangeAspect="1"/>
          </p:cNvGraphicFramePr>
          <p:nvPr userDrawn="1">
            <p:custDataLst>
              <p:tags r:id="rId1"/>
            </p:custDataLst>
            <p:extLst>
              <p:ext uri="{D42A27DB-BD31-4B8C-83A1-F6EECF244321}">
                <p14:modId xmlns:p14="http://schemas.microsoft.com/office/powerpoint/2010/main" val="2731046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91042315-B862-0611-BD64-C3E8F591A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F5A65EE-26E9-DB69-586E-0A1F504CF8CA}"/>
              </a:ext>
            </a:extLst>
          </p:cNvPr>
          <p:cNvSpPr/>
          <p:nvPr userDrawn="1"/>
        </p:nvSpPr>
        <p:spPr>
          <a:xfrm>
            <a:off x="0" y="0"/>
            <a:ext cx="552450" cy="68580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0" name="Rectangle 19">
            <a:extLst>
              <a:ext uri="{FF2B5EF4-FFF2-40B4-BE49-F238E27FC236}">
                <a16:creationId xmlns:a16="http://schemas.microsoft.com/office/drawing/2014/main" id="{8860015F-774D-31BC-9FFA-12EC5E103DE1}"/>
              </a:ext>
            </a:extLst>
          </p:cNvPr>
          <p:cNvSpPr/>
          <p:nvPr userDrawn="1"/>
        </p:nvSpPr>
        <p:spPr>
          <a:xfrm>
            <a:off x="11641138" y="0"/>
            <a:ext cx="552450" cy="68580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1" name="Rectangle 20">
            <a:extLst>
              <a:ext uri="{FF2B5EF4-FFF2-40B4-BE49-F238E27FC236}">
                <a16:creationId xmlns:a16="http://schemas.microsoft.com/office/drawing/2014/main" id="{0425688F-8EBF-38BC-6246-B74EFEBDC27D}"/>
              </a:ext>
            </a:extLst>
          </p:cNvPr>
          <p:cNvSpPr/>
          <p:nvPr userDrawn="1"/>
        </p:nvSpPr>
        <p:spPr>
          <a:xfrm rot="16200000">
            <a:off x="5819121" y="517918"/>
            <a:ext cx="549275" cy="1213089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2" name="Rectangle 21">
            <a:extLst>
              <a:ext uri="{FF2B5EF4-FFF2-40B4-BE49-F238E27FC236}">
                <a16:creationId xmlns:a16="http://schemas.microsoft.com/office/drawing/2014/main" id="{455F700D-CA2C-6478-D847-69C19D4E089F}"/>
              </a:ext>
            </a:extLst>
          </p:cNvPr>
          <p:cNvSpPr/>
          <p:nvPr userDrawn="1"/>
        </p:nvSpPr>
        <p:spPr>
          <a:xfrm rot="16200000">
            <a:off x="5850868" y="-4500167"/>
            <a:ext cx="485780" cy="1213089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98A495D1-457C-5E14-AC73-016C76F0CD12}"/>
              </a:ext>
            </a:extLst>
          </p:cNvPr>
          <p:cNvSpPr/>
          <p:nvPr userDrawn="1"/>
        </p:nvSpPr>
        <p:spPr>
          <a:xfrm rot="16200000">
            <a:off x="5886450" y="-5457827"/>
            <a:ext cx="485775" cy="1140142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4" name="Title Placeholder 1">
            <a:extLst>
              <a:ext uri="{FF2B5EF4-FFF2-40B4-BE49-F238E27FC236}">
                <a16:creationId xmlns:a16="http://schemas.microsoft.com/office/drawing/2014/main" id="{A203089A-3EF4-BF1F-04BF-9DB2BCCE6A2B}"/>
              </a:ext>
            </a:extLst>
          </p:cNvPr>
          <p:cNvSpPr>
            <a:spLocks noGrp="1"/>
          </p:cNvSpPr>
          <p:nvPr>
            <p:ph type="title" hasCustomPrompt="1"/>
          </p:nvPr>
        </p:nvSpPr>
        <p:spPr>
          <a:xfrm>
            <a:off x="565150" y="493517"/>
            <a:ext cx="11075988" cy="792000"/>
          </a:xfrm>
          <a:prstGeom prst="rect">
            <a:avLst/>
          </a:prstGeom>
        </p:spPr>
        <p:txBody>
          <a:bodyPr vert="horz" wrap="square" lIns="0" tIns="0" rIns="0" bIns="0" rtlCol="0" anchor="t" anchorCtr="0">
            <a:noAutofit/>
          </a:bodyPr>
          <a:lstStyle>
            <a:lvl1pPr>
              <a:defRPr lang="en-US"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pPr>
            <a:r>
              <a:rPr lang="en-US" dirty="0"/>
              <a:t>Internal – Aim to stay inside the margins</a:t>
            </a:r>
            <a:br>
              <a:rPr lang="en-US" dirty="0"/>
            </a:br>
            <a:endParaRPr lang="en-US" dirty="0"/>
          </a:p>
        </p:txBody>
      </p:sp>
      <p:sp>
        <p:nvSpPr>
          <p:cNvPr id="6" name="Graphic 8">
            <a:extLst>
              <a:ext uri="{FF2B5EF4-FFF2-40B4-BE49-F238E27FC236}">
                <a16:creationId xmlns:a16="http://schemas.microsoft.com/office/drawing/2014/main" id="{90F46A96-2026-5B16-5243-7582E77C78F4}"/>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F8C84EA2-044E-4A87-E133-98B06559E7C3}"/>
              </a:ext>
            </a:extLst>
          </p:cNvPr>
          <p:cNvSpPr>
            <a:spLocks noGrp="1"/>
          </p:cNvSpPr>
          <p:nvPr>
            <p:ph type="body" sz="quarter" idx="18" hasCustomPrompt="1"/>
          </p:nvPr>
        </p:nvSpPr>
        <p:spPr>
          <a:xfrm>
            <a:off x="1117902" y="6493073"/>
            <a:ext cx="9365948" cy="120174"/>
          </a:xfrm>
          <a:prstGeom prst="rect">
            <a:avLst/>
          </a:prstGeom>
        </p:spPr>
        <p:txBody>
          <a:bodyPr bIns="0" anchor="b" anchorCtr="0"/>
          <a:lstStyle>
            <a:lvl1pPr>
              <a:lnSpc>
                <a:spcPct val="100000"/>
              </a:lnSpc>
              <a:spcBef>
                <a:spcPts val="0"/>
              </a:spcBef>
              <a:defRPr sz="9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11" name="Text Placeholder 2">
            <a:extLst>
              <a:ext uri="{FF2B5EF4-FFF2-40B4-BE49-F238E27FC236}">
                <a16:creationId xmlns:a16="http://schemas.microsoft.com/office/drawing/2014/main" id="{A6E6A1FF-055A-3F35-B737-0B821FE7BC27}"/>
              </a:ext>
            </a:extLst>
          </p:cNvPr>
          <p:cNvSpPr>
            <a:spLocks noGrp="1"/>
          </p:cNvSpPr>
          <p:nvPr>
            <p:ph type="body" sz="quarter" idx="19" hasCustomPrompt="1"/>
          </p:nvPr>
        </p:nvSpPr>
        <p:spPr>
          <a:xfrm>
            <a:off x="1117902" y="6623050"/>
            <a:ext cx="9365948" cy="117525"/>
          </a:xfrm>
          <a:prstGeom prst="rect">
            <a:avLst/>
          </a:prstGeom>
        </p:spPr>
        <p:txBody>
          <a:bodyPr anchor="ctr" anchorCtr="0"/>
          <a:lstStyle>
            <a:lvl1pPr>
              <a:lnSpc>
                <a:spcPct val="100000"/>
              </a:lnSpc>
              <a:spcBef>
                <a:spcPts val="0"/>
              </a:spcBef>
              <a:defRPr sz="9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
        <p:nvSpPr>
          <p:cNvPr id="26" name="TextBox 25">
            <a:extLst>
              <a:ext uri="{FF2B5EF4-FFF2-40B4-BE49-F238E27FC236}">
                <a16:creationId xmlns:a16="http://schemas.microsoft.com/office/drawing/2014/main" id="{F8B27EF8-19D3-A006-F102-90E46106080B}"/>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27" name="TextBox 26">
            <a:extLst>
              <a:ext uri="{FF2B5EF4-FFF2-40B4-BE49-F238E27FC236}">
                <a16:creationId xmlns:a16="http://schemas.microsoft.com/office/drawing/2014/main" id="{24E7C3CD-8F71-B32E-3FD0-847A62B9B802}"/>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1" name="Text Placeholder 18">
            <a:extLst>
              <a:ext uri="{FF2B5EF4-FFF2-40B4-BE49-F238E27FC236}">
                <a16:creationId xmlns:a16="http://schemas.microsoft.com/office/drawing/2014/main" id="{65358D8A-0FF6-041B-5634-4F6FFC3A0E14}"/>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
        <p:nvSpPr>
          <p:cNvPr id="8" name="Title Placeholder 1">
            <a:extLst>
              <a:ext uri="{FF2B5EF4-FFF2-40B4-BE49-F238E27FC236}">
                <a16:creationId xmlns:a16="http://schemas.microsoft.com/office/drawing/2014/main" id="{C4D0223B-D156-3AF1-DAD4-688ABD71BFD3}"/>
              </a:ext>
            </a:extLst>
          </p:cNvPr>
          <p:cNvSpPr txBox="1">
            <a:spLocks/>
          </p:cNvSpPr>
          <p:nvPr userDrawn="1"/>
        </p:nvSpPr>
        <p:spPr>
          <a:xfrm>
            <a:off x="565150" y="1418780"/>
            <a:ext cx="11075988" cy="261610"/>
          </a:xfrm>
          <a:prstGeom prst="rect">
            <a:avLst/>
          </a:prstGeom>
        </p:spPr>
        <p:txBody>
          <a:bodyPr vert="horz" wrap="square" lIns="0" tIns="0" rIns="0" bIns="0" rtlCol="0" anchor="t" anchorCtr="0">
            <a:spAutoFit/>
          </a:bodyPr>
          <a:lstStyle>
            <a:lvl1pPr algn="l" defTabSz="914355" rtl="0" eaLnBrk="1" latinLnBrk="0" hangingPunct="1">
              <a:lnSpc>
                <a:spcPct val="100000"/>
              </a:lnSpc>
              <a:spcBef>
                <a:spcPct val="0"/>
              </a:spcBef>
              <a:buNone/>
              <a:defRPr lang="en-US" sz="2800" b="1" i="0" kern="1200" cap="none"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algn="ctr">
              <a:lnSpc>
                <a:spcPct val="84000"/>
              </a:lnSpc>
            </a:pPr>
            <a:r>
              <a:rPr lang="en-GB" sz="2000" b="0" i="1" dirty="0">
                <a:solidFill>
                  <a:schemeClr val="accent4"/>
                </a:solidFill>
                <a:latin typeface="Arial" panose="020B0604020202020204" pitchFamily="34" charset="0"/>
                <a:cs typeface="Arial" panose="020B0604020202020204" pitchFamily="34" charset="0"/>
                <a:sym typeface="Arial" panose="020B0604020202020204" pitchFamily="34" charset="0"/>
              </a:rPr>
              <a:t>[Do not use this space]</a:t>
            </a:r>
          </a:p>
        </p:txBody>
      </p:sp>
      <p:sp>
        <p:nvSpPr>
          <p:cNvPr id="9" name="Title Placeholder 1">
            <a:extLst>
              <a:ext uri="{FF2B5EF4-FFF2-40B4-BE49-F238E27FC236}">
                <a16:creationId xmlns:a16="http://schemas.microsoft.com/office/drawing/2014/main" id="{518373C0-DA1F-A6F2-38B9-5E030BA17B80}"/>
              </a:ext>
            </a:extLst>
          </p:cNvPr>
          <p:cNvSpPr txBox="1">
            <a:spLocks/>
          </p:cNvSpPr>
          <p:nvPr userDrawn="1"/>
        </p:nvSpPr>
        <p:spPr>
          <a:xfrm>
            <a:off x="565150" y="112080"/>
            <a:ext cx="11075988" cy="261610"/>
          </a:xfrm>
          <a:prstGeom prst="rect">
            <a:avLst/>
          </a:prstGeom>
        </p:spPr>
        <p:txBody>
          <a:bodyPr vert="horz" wrap="square" lIns="0" tIns="0" rIns="0" bIns="0" rtlCol="0" anchor="t" anchorCtr="0">
            <a:spAutoFit/>
          </a:bodyPr>
          <a:lstStyle>
            <a:lvl1pPr algn="l" defTabSz="914355" rtl="0" eaLnBrk="1" latinLnBrk="0" hangingPunct="1">
              <a:lnSpc>
                <a:spcPct val="100000"/>
              </a:lnSpc>
              <a:spcBef>
                <a:spcPct val="0"/>
              </a:spcBef>
              <a:buNone/>
              <a:defRPr lang="en-US" sz="2800" b="1" i="0" kern="1200" cap="none"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algn="ctr">
              <a:lnSpc>
                <a:spcPct val="84000"/>
              </a:lnSpc>
            </a:pPr>
            <a:r>
              <a:rPr lang="en-GB" sz="2000" b="0" i="1" dirty="0">
                <a:solidFill>
                  <a:schemeClr val="accent4"/>
                </a:solidFill>
                <a:latin typeface="Arial" panose="020B0604020202020204" pitchFamily="34" charset="0"/>
                <a:cs typeface="Arial" panose="020B0604020202020204" pitchFamily="34" charset="0"/>
                <a:sym typeface="Arial" panose="020B0604020202020204" pitchFamily="34" charset="0"/>
              </a:rPr>
              <a:t>[Do not use this space]</a:t>
            </a:r>
          </a:p>
        </p:txBody>
      </p:sp>
    </p:spTree>
    <p:extLst>
      <p:ext uri="{BB962C8B-B14F-4D97-AF65-F5344CB8AC3E}">
        <p14:creationId xmlns:p14="http://schemas.microsoft.com/office/powerpoint/2010/main" val="166087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Arrow">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B9401F-2EB1-9C2D-8A61-0732AC01B5F4}"/>
              </a:ext>
            </a:extLst>
          </p:cNvPr>
          <p:cNvGraphicFramePr>
            <a:graphicFrameLocks noChangeAspect="1"/>
          </p:cNvGraphicFramePr>
          <p:nvPr userDrawn="1">
            <p:custDataLst>
              <p:tags r:id="rId1"/>
            </p:custDataLst>
            <p:extLst>
              <p:ext uri="{D42A27DB-BD31-4B8C-83A1-F6EECF244321}">
                <p14:modId xmlns:p14="http://schemas.microsoft.com/office/powerpoint/2010/main" val="1235209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05B9401F-2EB1-9C2D-8A61-0732AC01B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9F29327-316B-62D7-6BC9-27DE9F0BB32E}"/>
              </a:ext>
            </a:extLst>
          </p:cNvPr>
          <p:cNvSpPr/>
          <p:nvPr userDrawn="1"/>
        </p:nvSpPr>
        <p:spPr>
          <a:xfrm>
            <a:off x="4293704" y="0"/>
            <a:ext cx="789988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7" name="Pentagon 16">
            <a:extLst>
              <a:ext uri="{FF2B5EF4-FFF2-40B4-BE49-F238E27FC236}">
                <a16:creationId xmlns:a16="http://schemas.microsoft.com/office/drawing/2014/main" id="{145A3CF0-85DA-989D-C987-B8194591CC7D}"/>
              </a:ext>
            </a:extLst>
          </p:cNvPr>
          <p:cNvSpPr/>
          <p:nvPr userDrawn="1"/>
        </p:nvSpPr>
        <p:spPr>
          <a:xfrm rot="10800000">
            <a:off x="3239427" y="0"/>
            <a:ext cx="1801249" cy="6858000"/>
          </a:xfrm>
          <a:custGeom>
            <a:avLst/>
            <a:gdLst>
              <a:gd name="connsiteX0" fmla="*/ 0 w 3602498"/>
              <a:gd name="connsiteY0" fmla="*/ 0 h 6858000"/>
              <a:gd name="connsiteX1" fmla="*/ 1801249 w 3602498"/>
              <a:gd name="connsiteY1" fmla="*/ 0 h 6858000"/>
              <a:gd name="connsiteX2" fmla="*/ 3602498 w 3602498"/>
              <a:gd name="connsiteY2" fmla="*/ 3429000 h 6858000"/>
              <a:gd name="connsiteX3" fmla="*/ 1801249 w 3602498"/>
              <a:gd name="connsiteY3" fmla="*/ 6858000 h 6858000"/>
              <a:gd name="connsiteX4" fmla="*/ 0 w 3602498"/>
              <a:gd name="connsiteY4" fmla="*/ 6858000 h 6858000"/>
              <a:gd name="connsiteX5" fmla="*/ 0 w 3602498"/>
              <a:gd name="connsiteY5" fmla="*/ 0 h 6858000"/>
              <a:gd name="connsiteX0" fmla="*/ 0 w 1801249"/>
              <a:gd name="connsiteY0" fmla="*/ 0 h 6858000"/>
              <a:gd name="connsiteX1" fmla="*/ 1801249 w 1801249"/>
              <a:gd name="connsiteY1" fmla="*/ 0 h 6858000"/>
              <a:gd name="connsiteX2" fmla="*/ 885802 w 1801249"/>
              <a:gd name="connsiteY2" fmla="*/ 3395870 h 6858000"/>
              <a:gd name="connsiteX3" fmla="*/ 1801249 w 1801249"/>
              <a:gd name="connsiteY3" fmla="*/ 6858000 h 6858000"/>
              <a:gd name="connsiteX4" fmla="*/ 0 w 1801249"/>
              <a:gd name="connsiteY4" fmla="*/ 6858000 h 6858000"/>
              <a:gd name="connsiteX5" fmla="*/ 0 w 1801249"/>
              <a:gd name="connsiteY5" fmla="*/ 0 h 6858000"/>
              <a:gd name="connsiteX0" fmla="*/ 0 w 1801249"/>
              <a:gd name="connsiteY0" fmla="*/ 0 h 6858000"/>
              <a:gd name="connsiteX1" fmla="*/ 1801249 w 1801249"/>
              <a:gd name="connsiteY1" fmla="*/ 0 h 6858000"/>
              <a:gd name="connsiteX2" fmla="*/ 991820 w 1801249"/>
              <a:gd name="connsiteY2" fmla="*/ 3409122 h 6858000"/>
              <a:gd name="connsiteX3" fmla="*/ 1801249 w 1801249"/>
              <a:gd name="connsiteY3" fmla="*/ 6858000 h 6858000"/>
              <a:gd name="connsiteX4" fmla="*/ 0 w 1801249"/>
              <a:gd name="connsiteY4" fmla="*/ 6858000 h 6858000"/>
              <a:gd name="connsiteX5" fmla="*/ 0 w 180124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1249" h="6858000">
                <a:moveTo>
                  <a:pt x="0" y="0"/>
                </a:moveTo>
                <a:lnTo>
                  <a:pt x="1801249" y="0"/>
                </a:lnTo>
                <a:lnTo>
                  <a:pt x="991820" y="3409122"/>
                </a:lnTo>
                <a:lnTo>
                  <a:pt x="1801249"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 name="Title 10">
            <a:extLst>
              <a:ext uri="{FF2B5EF4-FFF2-40B4-BE49-F238E27FC236}">
                <a16:creationId xmlns:a16="http://schemas.microsoft.com/office/drawing/2014/main" id="{DCB7519C-2524-8233-54C8-DDB720E8D1AD}"/>
              </a:ext>
            </a:extLst>
          </p:cNvPr>
          <p:cNvSpPr>
            <a:spLocks noGrp="1"/>
          </p:cNvSpPr>
          <p:nvPr>
            <p:ph type="title" hasCustomPrompt="1"/>
          </p:nvPr>
        </p:nvSpPr>
        <p:spPr>
          <a:xfrm>
            <a:off x="552451" y="493519"/>
            <a:ext cx="2686976" cy="792000"/>
          </a:xfrm>
          <a:prstGeom prst="rect">
            <a:avLst/>
          </a:prstGeom>
        </p:spPr>
        <p:txBody>
          <a:bodyPr vert="horz" wrap="square" lIns="0" tIns="0" rIns="0" bIns="0" rtlCol="0" anchor="t" anchorCtr="0">
            <a:noAutofit/>
          </a:bodyPr>
          <a:lstStyle>
            <a:lvl1pPr>
              <a:defRPr lang="en-US"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pPr>
            <a:r>
              <a:rPr lang="en-GB" dirty="0"/>
              <a:t>Slide Title</a:t>
            </a:r>
            <a:endParaRPr lang="en-US" dirty="0"/>
          </a:p>
        </p:txBody>
      </p:sp>
      <p:sp>
        <p:nvSpPr>
          <p:cNvPr id="14" name="Text Placeholder 2">
            <a:extLst>
              <a:ext uri="{FF2B5EF4-FFF2-40B4-BE49-F238E27FC236}">
                <a16:creationId xmlns:a16="http://schemas.microsoft.com/office/drawing/2014/main" id="{5149B1A9-1EFD-E923-6BD4-E90FCECE0097}"/>
              </a:ext>
            </a:extLst>
          </p:cNvPr>
          <p:cNvSpPr>
            <a:spLocks noGrp="1"/>
          </p:cNvSpPr>
          <p:nvPr>
            <p:ph type="body" sz="quarter" idx="18" hasCustomPrompt="1"/>
          </p:nvPr>
        </p:nvSpPr>
        <p:spPr>
          <a:xfrm>
            <a:off x="4012891" y="6493073"/>
            <a:ext cx="6228000" cy="120174"/>
          </a:xfrm>
          <a:prstGeom prst="rect">
            <a:avLst/>
          </a:prstGeom>
        </p:spPr>
        <p:txBody>
          <a:bodyPr bIns="0" anchor="b"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15" name="Text Placeholder 2">
            <a:extLst>
              <a:ext uri="{FF2B5EF4-FFF2-40B4-BE49-F238E27FC236}">
                <a16:creationId xmlns:a16="http://schemas.microsoft.com/office/drawing/2014/main" id="{33C1DB6D-14A5-7134-C3E2-45EF690DDD80}"/>
              </a:ext>
            </a:extLst>
          </p:cNvPr>
          <p:cNvSpPr>
            <a:spLocks noGrp="1"/>
          </p:cNvSpPr>
          <p:nvPr>
            <p:ph type="body" sz="quarter" idx="19" hasCustomPrompt="1"/>
          </p:nvPr>
        </p:nvSpPr>
        <p:spPr>
          <a:xfrm>
            <a:off x="4012891" y="6623050"/>
            <a:ext cx="6228000" cy="117525"/>
          </a:xfrm>
          <a:prstGeom prst="rect">
            <a:avLst/>
          </a:prstGeom>
        </p:spPr>
        <p:txBody>
          <a:bodyPr anchor="ctr"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
        <p:nvSpPr>
          <p:cNvPr id="2" name="Text Placeholder 7">
            <a:extLst>
              <a:ext uri="{FF2B5EF4-FFF2-40B4-BE49-F238E27FC236}">
                <a16:creationId xmlns:a16="http://schemas.microsoft.com/office/drawing/2014/main" id="{AA13A1C1-039E-6B75-C454-6DDDFC61AEC3}"/>
              </a:ext>
            </a:extLst>
          </p:cNvPr>
          <p:cNvSpPr>
            <a:spLocks noGrp="1"/>
          </p:cNvSpPr>
          <p:nvPr>
            <p:ph type="body" sz="quarter" idx="57" hasCustomPrompt="1"/>
          </p:nvPr>
        </p:nvSpPr>
        <p:spPr>
          <a:xfrm>
            <a:off x="4012890" y="493519"/>
            <a:ext cx="7628247"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Optional - Heading</a:t>
            </a:r>
          </a:p>
        </p:txBody>
      </p:sp>
      <p:sp>
        <p:nvSpPr>
          <p:cNvPr id="8" name="Graphic 8">
            <a:extLst>
              <a:ext uri="{FF2B5EF4-FFF2-40B4-BE49-F238E27FC236}">
                <a16:creationId xmlns:a16="http://schemas.microsoft.com/office/drawing/2014/main" id="{2B2255A8-C184-24FD-F82A-3C5DAADDE212}"/>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1" name="TextBox 10">
            <a:extLst>
              <a:ext uri="{FF2B5EF4-FFF2-40B4-BE49-F238E27FC236}">
                <a16:creationId xmlns:a16="http://schemas.microsoft.com/office/drawing/2014/main" id="{14CE86EA-99C2-A673-46B8-9264474B3FD4}"/>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12" name="TextBox 11">
            <a:extLst>
              <a:ext uri="{FF2B5EF4-FFF2-40B4-BE49-F238E27FC236}">
                <a16:creationId xmlns:a16="http://schemas.microsoft.com/office/drawing/2014/main" id="{A6742457-56A5-5C5E-2940-1B2C1E7DF161}"/>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9" name="Text Placeholder 18">
            <a:extLst>
              <a:ext uri="{FF2B5EF4-FFF2-40B4-BE49-F238E27FC236}">
                <a16:creationId xmlns:a16="http://schemas.microsoft.com/office/drawing/2014/main" id="{17C5079C-5E59-1447-BC1E-AC07750FB3E2}"/>
              </a:ext>
            </a:extLst>
          </p:cNvPr>
          <p:cNvSpPr>
            <a:spLocks noGrp="1"/>
          </p:cNvSpPr>
          <p:nvPr>
            <p:ph type="body" sz="quarter" idx="21" hasCustomPrompt="1"/>
          </p:nvPr>
        </p:nvSpPr>
        <p:spPr>
          <a:xfrm>
            <a:off x="552450" y="127228"/>
            <a:ext cx="2508250" cy="160813"/>
          </a:xfrm>
          <a:prstGeom prst="rect">
            <a:avLst/>
          </a:prstGeom>
        </p:spPr>
        <p:txBody>
          <a:bodyPr wrap="square"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Tree>
    <p:extLst>
      <p:ext uri="{BB962C8B-B14F-4D97-AF65-F5344CB8AC3E}">
        <p14:creationId xmlns:p14="http://schemas.microsoft.com/office/powerpoint/2010/main" val="121339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82">
          <p15:clr>
            <a:srgbClr val="FBAE40"/>
          </p15:clr>
        </p15:guide>
        <p15:guide id="3" pos="3999">
          <p15:clr>
            <a:srgbClr val="FBAE40"/>
          </p15:clr>
        </p15:guide>
        <p15:guide id="4" orient="horz" pos="17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Arrow">
    <p:bg>
      <p:bgPr>
        <a:solidFill>
          <a:schemeClr val="accent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F5E2126-CF25-EA15-98C7-80A118F45B9C}"/>
              </a:ext>
            </a:extLst>
          </p:cNvPr>
          <p:cNvGraphicFramePr>
            <a:graphicFrameLocks noChangeAspect="1"/>
          </p:cNvGraphicFramePr>
          <p:nvPr userDrawn="1">
            <p:custDataLst>
              <p:tags r:id="rId1"/>
            </p:custDataLst>
            <p:extLst>
              <p:ext uri="{D42A27DB-BD31-4B8C-83A1-F6EECF244321}">
                <p14:modId xmlns:p14="http://schemas.microsoft.com/office/powerpoint/2010/main" val="3249068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1" name="think-cell data - do not delete" hidden="1">
                        <a:extLst>
                          <a:ext uri="{FF2B5EF4-FFF2-40B4-BE49-F238E27FC236}">
                            <a16:creationId xmlns:a16="http://schemas.microsoft.com/office/drawing/2014/main" id="{4F5E2126-CF25-EA15-98C7-80A118F45B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34A603B-53C7-D300-1872-1FDA851DEC42}"/>
              </a:ext>
            </a:extLst>
          </p:cNvPr>
          <p:cNvSpPr/>
          <p:nvPr userDrawn="1"/>
        </p:nvSpPr>
        <p:spPr>
          <a:xfrm>
            <a:off x="7151688" y="0"/>
            <a:ext cx="50419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8" name="Pentagon 16">
            <a:extLst>
              <a:ext uri="{FF2B5EF4-FFF2-40B4-BE49-F238E27FC236}">
                <a16:creationId xmlns:a16="http://schemas.microsoft.com/office/drawing/2014/main" id="{57F56D34-AF47-4075-BF0B-1170E6B9F8CB}"/>
              </a:ext>
            </a:extLst>
          </p:cNvPr>
          <p:cNvSpPr/>
          <p:nvPr userDrawn="1"/>
        </p:nvSpPr>
        <p:spPr>
          <a:xfrm rot="10800000">
            <a:off x="5764576" y="0"/>
            <a:ext cx="1633972" cy="6858000"/>
          </a:xfrm>
          <a:custGeom>
            <a:avLst/>
            <a:gdLst>
              <a:gd name="connsiteX0" fmla="*/ 0 w 3602498"/>
              <a:gd name="connsiteY0" fmla="*/ 0 h 6858000"/>
              <a:gd name="connsiteX1" fmla="*/ 1801249 w 3602498"/>
              <a:gd name="connsiteY1" fmla="*/ 0 h 6858000"/>
              <a:gd name="connsiteX2" fmla="*/ 3602498 w 3602498"/>
              <a:gd name="connsiteY2" fmla="*/ 3429000 h 6858000"/>
              <a:gd name="connsiteX3" fmla="*/ 1801249 w 3602498"/>
              <a:gd name="connsiteY3" fmla="*/ 6858000 h 6858000"/>
              <a:gd name="connsiteX4" fmla="*/ 0 w 3602498"/>
              <a:gd name="connsiteY4" fmla="*/ 6858000 h 6858000"/>
              <a:gd name="connsiteX5" fmla="*/ 0 w 3602498"/>
              <a:gd name="connsiteY5" fmla="*/ 0 h 6858000"/>
              <a:gd name="connsiteX0" fmla="*/ 0 w 1801249"/>
              <a:gd name="connsiteY0" fmla="*/ 0 h 6858000"/>
              <a:gd name="connsiteX1" fmla="*/ 1801249 w 1801249"/>
              <a:gd name="connsiteY1" fmla="*/ 0 h 6858000"/>
              <a:gd name="connsiteX2" fmla="*/ 885802 w 1801249"/>
              <a:gd name="connsiteY2" fmla="*/ 3395870 h 6858000"/>
              <a:gd name="connsiteX3" fmla="*/ 1801249 w 1801249"/>
              <a:gd name="connsiteY3" fmla="*/ 6858000 h 6858000"/>
              <a:gd name="connsiteX4" fmla="*/ 0 w 1801249"/>
              <a:gd name="connsiteY4" fmla="*/ 6858000 h 6858000"/>
              <a:gd name="connsiteX5" fmla="*/ 0 w 1801249"/>
              <a:gd name="connsiteY5" fmla="*/ 0 h 6858000"/>
              <a:gd name="connsiteX0" fmla="*/ 0 w 1801249"/>
              <a:gd name="connsiteY0" fmla="*/ 0 h 6858000"/>
              <a:gd name="connsiteX1" fmla="*/ 1801249 w 1801249"/>
              <a:gd name="connsiteY1" fmla="*/ 0 h 6858000"/>
              <a:gd name="connsiteX2" fmla="*/ 991820 w 1801249"/>
              <a:gd name="connsiteY2" fmla="*/ 3409122 h 6858000"/>
              <a:gd name="connsiteX3" fmla="*/ 1801249 w 1801249"/>
              <a:gd name="connsiteY3" fmla="*/ 6858000 h 6858000"/>
              <a:gd name="connsiteX4" fmla="*/ 0 w 1801249"/>
              <a:gd name="connsiteY4" fmla="*/ 6858000 h 6858000"/>
              <a:gd name="connsiteX5" fmla="*/ 0 w 180124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1249" h="6858000">
                <a:moveTo>
                  <a:pt x="0" y="0"/>
                </a:moveTo>
                <a:lnTo>
                  <a:pt x="1801249" y="0"/>
                </a:lnTo>
                <a:lnTo>
                  <a:pt x="991820" y="3409122"/>
                </a:lnTo>
                <a:lnTo>
                  <a:pt x="1801249"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4" name="Title 10">
            <a:extLst>
              <a:ext uri="{FF2B5EF4-FFF2-40B4-BE49-F238E27FC236}">
                <a16:creationId xmlns:a16="http://schemas.microsoft.com/office/drawing/2014/main" id="{873207BB-C008-161D-687C-F94491F1AE24}"/>
              </a:ext>
            </a:extLst>
          </p:cNvPr>
          <p:cNvSpPr>
            <a:spLocks noGrp="1"/>
          </p:cNvSpPr>
          <p:nvPr>
            <p:ph type="title" hasCustomPrompt="1"/>
          </p:nvPr>
        </p:nvSpPr>
        <p:spPr>
          <a:xfrm>
            <a:off x="552450" y="493519"/>
            <a:ext cx="5292725" cy="792000"/>
          </a:xfrm>
          <a:prstGeom prst="rect">
            <a:avLst/>
          </a:prstGeom>
        </p:spPr>
        <p:txBody>
          <a:bodyPr vert="horz" wrap="square" lIns="0" tIns="0" rIns="0" bIns="0" rtlCol="0" anchor="t" anchorCtr="0">
            <a:noAutofit/>
          </a:bodyPr>
          <a:lstStyle>
            <a:lvl1pPr>
              <a:defRPr lang="en-US"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pPr>
            <a:r>
              <a:rPr lang="en-GB" dirty="0"/>
              <a:t>Slide Title</a:t>
            </a:r>
            <a:endParaRPr lang="en-US" dirty="0"/>
          </a:p>
        </p:txBody>
      </p:sp>
      <p:sp>
        <p:nvSpPr>
          <p:cNvPr id="12" name="Text Placeholder 2">
            <a:extLst>
              <a:ext uri="{FF2B5EF4-FFF2-40B4-BE49-F238E27FC236}">
                <a16:creationId xmlns:a16="http://schemas.microsoft.com/office/drawing/2014/main" id="{004139E0-4D99-688B-9AF4-E90532C352F8}"/>
              </a:ext>
            </a:extLst>
          </p:cNvPr>
          <p:cNvSpPr>
            <a:spLocks noGrp="1"/>
          </p:cNvSpPr>
          <p:nvPr>
            <p:ph type="body" sz="quarter" idx="18" hasCustomPrompt="1"/>
          </p:nvPr>
        </p:nvSpPr>
        <p:spPr>
          <a:xfrm>
            <a:off x="1117902" y="6493073"/>
            <a:ext cx="4538798" cy="120174"/>
          </a:xfrm>
          <a:prstGeom prst="rect">
            <a:avLst/>
          </a:prstGeom>
        </p:spPr>
        <p:txBody>
          <a:bodyPr bIns="0" anchor="b"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13" name="Text Placeholder 2">
            <a:extLst>
              <a:ext uri="{FF2B5EF4-FFF2-40B4-BE49-F238E27FC236}">
                <a16:creationId xmlns:a16="http://schemas.microsoft.com/office/drawing/2014/main" id="{F99EEF1E-7838-3D6A-71E3-64E158F39E68}"/>
              </a:ext>
            </a:extLst>
          </p:cNvPr>
          <p:cNvSpPr>
            <a:spLocks noGrp="1"/>
          </p:cNvSpPr>
          <p:nvPr>
            <p:ph type="body" sz="quarter" idx="19" hasCustomPrompt="1"/>
          </p:nvPr>
        </p:nvSpPr>
        <p:spPr>
          <a:xfrm>
            <a:off x="1117902" y="6623050"/>
            <a:ext cx="4538798" cy="117525"/>
          </a:xfrm>
          <a:prstGeom prst="rect">
            <a:avLst/>
          </a:prstGeom>
        </p:spPr>
        <p:txBody>
          <a:bodyPr anchor="ctr"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
        <p:nvSpPr>
          <p:cNvPr id="2" name="Text Placeholder 7">
            <a:extLst>
              <a:ext uri="{FF2B5EF4-FFF2-40B4-BE49-F238E27FC236}">
                <a16:creationId xmlns:a16="http://schemas.microsoft.com/office/drawing/2014/main" id="{6BF25F34-EEA9-2CD9-3424-007C8CC0CDB3}"/>
              </a:ext>
            </a:extLst>
          </p:cNvPr>
          <p:cNvSpPr>
            <a:spLocks noGrp="1"/>
          </p:cNvSpPr>
          <p:nvPr>
            <p:ph type="body" sz="quarter" idx="57" hasCustomPrompt="1"/>
          </p:nvPr>
        </p:nvSpPr>
        <p:spPr>
          <a:xfrm>
            <a:off x="6459688" y="493519"/>
            <a:ext cx="5181450"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Optional – Heading]</a:t>
            </a:r>
          </a:p>
        </p:txBody>
      </p:sp>
      <p:sp>
        <p:nvSpPr>
          <p:cNvPr id="15" name="Graphic 8">
            <a:extLst>
              <a:ext uri="{FF2B5EF4-FFF2-40B4-BE49-F238E27FC236}">
                <a16:creationId xmlns:a16="http://schemas.microsoft.com/office/drawing/2014/main" id="{FCD4427C-119B-44CF-123C-B64BD0B2F20F}"/>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95E84115-5FF6-C5B5-3A7E-319256EC8BF7}"/>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27" name="TextBox 26">
            <a:extLst>
              <a:ext uri="{FF2B5EF4-FFF2-40B4-BE49-F238E27FC236}">
                <a16:creationId xmlns:a16="http://schemas.microsoft.com/office/drawing/2014/main" id="{347B0294-E33D-3B54-D0BD-1A8BADA3F956}"/>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8" name="Text Placeholder 18">
            <a:extLst>
              <a:ext uri="{FF2B5EF4-FFF2-40B4-BE49-F238E27FC236}">
                <a16:creationId xmlns:a16="http://schemas.microsoft.com/office/drawing/2014/main" id="{39FD50A6-B7E5-48F1-8812-B8BFDDBCCBF7}"/>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Tree>
    <p:extLst>
      <p:ext uri="{BB962C8B-B14F-4D97-AF65-F5344CB8AC3E}">
        <p14:creationId xmlns:p14="http://schemas.microsoft.com/office/powerpoint/2010/main" val="214627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179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2 Arrow">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720BBB-4E34-F4AA-898D-F9435E963F64}"/>
              </a:ext>
            </a:extLst>
          </p:cNvPr>
          <p:cNvGraphicFramePr>
            <a:graphicFrameLocks noChangeAspect="1"/>
          </p:cNvGraphicFramePr>
          <p:nvPr userDrawn="1">
            <p:custDataLst>
              <p:tags r:id="rId1"/>
            </p:custDataLst>
            <p:extLst>
              <p:ext uri="{D42A27DB-BD31-4B8C-83A1-F6EECF244321}">
                <p14:modId xmlns:p14="http://schemas.microsoft.com/office/powerpoint/2010/main" val="1545734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C5720BBB-4E34-F4AA-898D-F9435E963F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4EA116F1-EEA2-B25E-4E0E-FE22F4EEE40C}"/>
              </a:ext>
            </a:extLst>
          </p:cNvPr>
          <p:cNvSpPr/>
          <p:nvPr userDrawn="1"/>
        </p:nvSpPr>
        <p:spPr>
          <a:xfrm>
            <a:off x="0" y="0"/>
            <a:ext cx="529359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6" name="Pentagon 15">
            <a:extLst>
              <a:ext uri="{FF2B5EF4-FFF2-40B4-BE49-F238E27FC236}">
                <a16:creationId xmlns:a16="http://schemas.microsoft.com/office/drawing/2014/main" id="{4F2FBAE9-7C6A-34B2-684C-5B2D079FA7D0}"/>
              </a:ext>
            </a:extLst>
          </p:cNvPr>
          <p:cNvSpPr/>
          <p:nvPr userDrawn="1"/>
        </p:nvSpPr>
        <p:spPr>
          <a:xfrm>
            <a:off x="4958068" y="0"/>
            <a:ext cx="1633972" cy="685800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 name="Text Placeholder 7">
            <a:extLst>
              <a:ext uri="{FF2B5EF4-FFF2-40B4-BE49-F238E27FC236}">
                <a16:creationId xmlns:a16="http://schemas.microsoft.com/office/drawing/2014/main" id="{5161723C-D7A7-9E9B-FF1A-5C0571A82097}"/>
              </a:ext>
            </a:extLst>
          </p:cNvPr>
          <p:cNvSpPr>
            <a:spLocks noGrp="1"/>
          </p:cNvSpPr>
          <p:nvPr>
            <p:ph type="body" sz="quarter" idx="57" hasCustomPrompt="1"/>
          </p:nvPr>
        </p:nvSpPr>
        <p:spPr>
          <a:xfrm>
            <a:off x="552450" y="493519"/>
            <a:ext cx="5251576"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GB" dirty="0"/>
              <a:t>Slide Title</a:t>
            </a:r>
            <a:endParaRPr lang="en-US" dirty="0"/>
          </a:p>
        </p:txBody>
      </p:sp>
      <p:sp>
        <p:nvSpPr>
          <p:cNvPr id="19" name="Text Placeholder 7">
            <a:extLst>
              <a:ext uri="{FF2B5EF4-FFF2-40B4-BE49-F238E27FC236}">
                <a16:creationId xmlns:a16="http://schemas.microsoft.com/office/drawing/2014/main" id="{13C608F3-1C5C-E98E-C9F8-508CD1B98B73}"/>
              </a:ext>
            </a:extLst>
          </p:cNvPr>
          <p:cNvSpPr>
            <a:spLocks noGrp="1"/>
          </p:cNvSpPr>
          <p:nvPr>
            <p:ph type="body" sz="quarter" idx="58" hasCustomPrompt="1"/>
          </p:nvPr>
        </p:nvSpPr>
        <p:spPr>
          <a:xfrm>
            <a:off x="6459688" y="493519"/>
            <a:ext cx="5181450"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Optional – Heading]</a:t>
            </a:r>
          </a:p>
        </p:txBody>
      </p:sp>
      <p:sp>
        <p:nvSpPr>
          <p:cNvPr id="24" name="Graphic 8">
            <a:extLst>
              <a:ext uri="{FF2B5EF4-FFF2-40B4-BE49-F238E27FC236}">
                <a16:creationId xmlns:a16="http://schemas.microsoft.com/office/drawing/2014/main" id="{8E4C8C85-B39A-9E2C-57FD-CDB423215924}"/>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5" name="Text Placeholder 2">
            <a:extLst>
              <a:ext uri="{FF2B5EF4-FFF2-40B4-BE49-F238E27FC236}">
                <a16:creationId xmlns:a16="http://schemas.microsoft.com/office/drawing/2014/main" id="{0423BB98-C29A-A38B-0AEC-E87A7048760C}"/>
              </a:ext>
            </a:extLst>
          </p:cNvPr>
          <p:cNvSpPr>
            <a:spLocks noGrp="1"/>
          </p:cNvSpPr>
          <p:nvPr>
            <p:ph type="body" sz="quarter" idx="18" hasCustomPrompt="1"/>
          </p:nvPr>
        </p:nvSpPr>
        <p:spPr>
          <a:xfrm>
            <a:off x="1117902" y="6493073"/>
            <a:ext cx="4538798" cy="120174"/>
          </a:xfrm>
          <a:prstGeom prst="rect">
            <a:avLst/>
          </a:prstGeom>
        </p:spPr>
        <p:txBody>
          <a:bodyPr bIns="0" anchor="b"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26" name="Text Placeholder 2">
            <a:extLst>
              <a:ext uri="{FF2B5EF4-FFF2-40B4-BE49-F238E27FC236}">
                <a16:creationId xmlns:a16="http://schemas.microsoft.com/office/drawing/2014/main" id="{3F772936-DB4C-3131-E275-F907CAA94075}"/>
              </a:ext>
            </a:extLst>
          </p:cNvPr>
          <p:cNvSpPr>
            <a:spLocks noGrp="1"/>
          </p:cNvSpPr>
          <p:nvPr>
            <p:ph type="body" sz="quarter" idx="19" hasCustomPrompt="1"/>
          </p:nvPr>
        </p:nvSpPr>
        <p:spPr>
          <a:xfrm>
            <a:off x="1117902" y="6623050"/>
            <a:ext cx="4538798" cy="117525"/>
          </a:xfrm>
          <a:prstGeom prst="rect">
            <a:avLst/>
          </a:prstGeom>
        </p:spPr>
        <p:txBody>
          <a:bodyPr anchor="ctr"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
        <p:nvSpPr>
          <p:cNvPr id="29" name="TextBox 28">
            <a:extLst>
              <a:ext uri="{FF2B5EF4-FFF2-40B4-BE49-F238E27FC236}">
                <a16:creationId xmlns:a16="http://schemas.microsoft.com/office/drawing/2014/main" id="{23CF51AB-E6AA-56F7-4E25-39D554C3C1AD}"/>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30" name="TextBox 29">
            <a:extLst>
              <a:ext uri="{FF2B5EF4-FFF2-40B4-BE49-F238E27FC236}">
                <a16:creationId xmlns:a16="http://schemas.microsoft.com/office/drawing/2014/main" id="{41B61D45-97A4-A26C-B3A4-C53D6DB45FC8}"/>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1" name="Text Placeholder 18">
            <a:extLst>
              <a:ext uri="{FF2B5EF4-FFF2-40B4-BE49-F238E27FC236}">
                <a16:creationId xmlns:a16="http://schemas.microsoft.com/office/drawing/2014/main" id="{FD158351-15F6-84D5-B4D4-D6059D42ADEF}"/>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Tree>
    <p:extLst>
      <p:ext uri="{BB962C8B-B14F-4D97-AF65-F5344CB8AC3E}">
        <p14:creationId xmlns:p14="http://schemas.microsoft.com/office/powerpoint/2010/main" val="252043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82" userDrawn="1">
          <p15:clr>
            <a:srgbClr val="FBAE40"/>
          </p15:clr>
        </p15:guide>
        <p15:guide id="3" pos="3999" userDrawn="1">
          <p15:clr>
            <a:srgbClr val="FBAE40"/>
          </p15:clr>
        </p15:guide>
        <p15:guide id="4" orient="horz" pos="179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3 Arrow">
    <p:bg>
      <p:bgPr>
        <a:solidFill>
          <a:schemeClr val="accent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EE1FF4-E715-E718-120D-C0B715A998FD}"/>
              </a:ext>
            </a:extLst>
          </p:cNvPr>
          <p:cNvGraphicFramePr>
            <a:graphicFrameLocks noChangeAspect="1"/>
          </p:cNvGraphicFramePr>
          <p:nvPr userDrawn="1">
            <p:custDataLst>
              <p:tags r:id="rId1"/>
            </p:custDataLst>
            <p:extLst>
              <p:ext uri="{D42A27DB-BD31-4B8C-83A1-F6EECF244321}">
                <p14:modId xmlns:p14="http://schemas.microsoft.com/office/powerpoint/2010/main" val="27775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80EE1FF4-E715-E718-120D-C0B715A998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entagon 3">
            <a:extLst>
              <a:ext uri="{FF2B5EF4-FFF2-40B4-BE49-F238E27FC236}">
                <a16:creationId xmlns:a16="http://schemas.microsoft.com/office/drawing/2014/main" id="{AEB11C26-AF62-5AE3-D407-1E7944087829}"/>
              </a:ext>
            </a:extLst>
          </p:cNvPr>
          <p:cNvSpPr/>
          <p:nvPr userDrawn="1"/>
        </p:nvSpPr>
        <p:spPr>
          <a:xfrm>
            <a:off x="6475825" y="0"/>
            <a:ext cx="1633972" cy="685800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AFB114ED-2994-FFD4-196F-6B754F48C4B1}"/>
              </a:ext>
            </a:extLst>
          </p:cNvPr>
          <p:cNvSpPr/>
          <p:nvPr userDrawn="1"/>
        </p:nvSpPr>
        <p:spPr>
          <a:xfrm>
            <a:off x="0" y="0"/>
            <a:ext cx="697083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7" name="Pentagon 16">
            <a:extLst>
              <a:ext uri="{FF2B5EF4-FFF2-40B4-BE49-F238E27FC236}">
                <a16:creationId xmlns:a16="http://schemas.microsoft.com/office/drawing/2014/main" id="{2254B9DB-C167-2C6A-742C-05B348B72709}"/>
              </a:ext>
            </a:extLst>
          </p:cNvPr>
          <p:cNvSpPr/>
          <p:nvPr userDrawn="1"/>
        </p:nvSpPr>
        <p:spPr>
          <a:xfrm>
            <a:off x="6472751" y="0"/>
            <a:ext cx="1633972" cy="6858000"/>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 name="Title 10">
            <a:extLst>
              <a:ext uri="{FF2B5EF4-FFF2-40B4-BE49-F238E27FC236}">
                <a16:creationId xmlns:a16="http://schemas.microsoft.com/office/drawing/2014/main" id="{9BEE212B-D9BC-DC34-75FC-FAC60CE49AE2}"/>
              </a:ext>
            </a:extLst>
          </p:cNvPr>
          <p:cNvSpPr>
            <a:spLocks noGrp="1"/>
          </p:cNvSpPr>
          <p:nvPr>
            <p:ph type="title" hasCustomPrompt="1"/>
          </p:nvPr>
        </p:nvSpPr>
        <p:spPr>
          <a:xfrm>
            <a:off x="552450" y="493519"/>
            <a:ext cx="6622026" cy="792000"/>
          </a:xfrm>
          <a:prstGeom prst="rect">
            <a:avLst/>
          </a:prstGeom>
        </p:spPr>
        <p:txBody>
          <a:bodyPr vert="horz" wrap="square" lIns="0" tIns="0" rIns="0" bIns="0" rtlCol="0" anchor="t" anchorCtr="0">
            <a:noAutofit/>
          </a:bodyPr>
          <a:lstStyle>
            <a:lvl1pPr>
              <a:defRPr lang="en-US"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pPr>
            <a:r>
              <a:rPr lang="en-GB" dirty="0"/>
              <a:t>Slide Title</a:t>
            </a:r>
            <a:endParaRPr lang="en-US" dirty="0"/>
          </a:p>
        </p:txBody>
      </p:sp>
      <p:sp>
        <p:nvSpPr>
          <p:cNvPr id="14" name="Text Placeholder 13">
            <a:extLst>
              <a:ext uri="{FF2B5EF4-FFF2-40B4-BE49-F238E27FC236}">
                <a16:creationId xmlns:a16="http://schemas.microsoft.com/office/drawing/2014/main" id="{5561F43E-3F97-9754-6DF1-51575097C611}"/>
              </a:ext>
            </a:extLst>
          </p:cNvPr>
          <p:cNvSpPr>
            <a:spLocks noGrp="1"/>
          </p:cNvSpPr>
          <p:nvPr>
            <p:ph type="body" sz="quarter" idx="58" hasCustomPrompt="1"/>
          </p:nvPr>
        </p:nvSpPr>
        <p:spPr>
          <a:xfrm>
            <a:off x="8554720" y="493519"/>
            <a:ext cx="3048469" cy="792000"/>
          </a:xfrm>
          <a:prstGeom prst="rect">
            <a:avLst/>
          </a:prstGeom>
        </p:spPr>
        <p:txBody>
          <a:bodyPr vert="horz" wrap="square" lIns="0" tIns="0" rIns="0" bIns="0" rtlCol="0" anchor="t" anchorCtr="0">
            <a:noAutofit/>
          </a:bodyPr>
          <a:lstStyle>
            <a:lvl1pPr>
              <a:defRPr lang="en-US" sz="2800" b="1" cap="none"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lnSpc>
                <a:spcPct val="84000"/>
              </a:lnSpc>
              <a:spcBef>
                <a:spcPct val="0"/>
              </a:spcBef>
            </a:pPr>
            <a:r>
              <a:rPr lang="en-US" dirty="0"/>
              <a:t>Conclusion</a:t>
            </a:r>
          </a:p>
        </p:txBody>
      </p:sp>
      <p:sp>
        <p:nvSpPr>
          <p:cNvPr id="7" name="Graphic 8">
            <a:extLst>
              <a:ext uri="{FF2B5EF4-FFF2-40B4-BE49-F238E27FC236}">
                <a16:creationId xmlns:a16="http://schemas.microsoft.com/office/drawing/2014/main" id="{CDDE3199-9642-F2BE-8BEB-A55CF6DE9744}"/>
              </a:ext>
            </a:extLst>
          </p:cNvPr>
          <p:cNvSpPr/>
          <p:nvPr userDrawn="1"/>
        </p:nvSpPr>
        <p:spPr>
          <a:xfrm>
            <a:off x="565150" y="6493073"/>
            <a:ext cx="314626" cy="223575"/>
          </a:xfrm>
          <a:custGeom>
            <a:avLst/>
            <a:gdLst>
              <a:gd name="connsiteX0" fmla="*/ 0 w 1474445"/>
              <a:gd name="connsiteY0" fmla="*/ 0 h 1047750"/>
              <a:gd name="connsiteX1" fmla="*/ 0 w 1474445"/>
              <a:gd name="connsiteY1" fmla="*/ 1047750 h 1047750"/>
              <a:gd name="connsiteX2" fmla="*/ 1474445 w 1474445"/>
              <a:gd name="connsiteY2" fmla="*/ 1047750 h 1047750"/>
              <a:gd name="connsiteX3" fmla="*/ 1474445 w 1474445"/>
              <a:gd name="connsiteY3" fmla="*/ 0 h 1047750"/>
              <a:gd name="connsiteX4" fmla="*/ 0 w 1474445"/>
              <a:gd name="connsiteY4" fmla="*/ 0 h 1047750"/>
              <a:gd name="connsiteX5" fmla="*/ 1347262 w 1474445"/>
              <a:gd name="connsiteY5" fmla="*/ 451390 h 1047750"/>
              <a:gd name="connsiteX6" fmla="*/ 835678 w 1474445"/>
              <a:gd name="connsiteY6" fmla="*/ 451390 h 1047750"/>
              <a:gd name="connsiteX7" fmla="*/ 835678 w 1474445"/>
              <a:gd name="connsiteY7" fmla="*/ 567119 h 1047750"/>
              <a:gd name="connsiteX8" fmla="*/ 1347262 w 1474445"/>
              <a:gd name="connsiteY8" fmla="*/ 567119 h 1047750"/>
              <a:gd name="connsiteX9" fmla="*/ 1347262 w 1474445"/>
              <a:gd name="connsiteY9" fmla="*/ 932783 h 1047750"/>
              <a:gd name="connsiteX10" fmla="*/ 127183 w 1474445"/>
              <a:gd name="connsiteY10" fmla="*/ 932783 h 1047750"/>
              <a:gd name="connsiteX11" fmla="*/ 127183 w 1474445"/>
              <a:gd name="connsiteY11" fmla="*/ 567119 h 1047750"/>
              <a:gd name="connsiteX12" fmla="*/ 638768 w 1474445"/>
              <a:gd name="connsiteY12" fmla="*/ 567119 h 1047750"/>
              <a:gd name="connsiteX13" fmla="*/ 638768 w 1474445"/>
              <a:gd name="connsiteY13" fmla="*/ 451390 h 1047750"/>
              <a:gd name="connsiteX14" fmla="*/ 127183 w 1474445"/>
              <a:gd name="connsiteY14" fmla="*/ 451390 h 1047750"/>
              <a:gd name="connsiteX15" fmla="*/ 127183 w 1474445"/>
              <a:gd name="connsiteY15" fmla="*/ 115729 h 1047750"/>
              <a:gd name="connsiteX16" fmla="*/ 1347357 w 1474445"/>
              <a:gd name="connsiteY16" fmla="*/ 115729 h 1047750"/>
              <a:gd name="connsiteX17" fmla="*/ 1347357 w 1474445"/>
              <a:gd name="connsiteY17" fmla="*/ 45139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4445" h="1047750">
                <a:moveTo>
                  <a:pt x="0" y="0"/>
                </a:moveTo>
                <a:lnTo>
                  <a:pt x="0" y="1047750"/>
                </a:lnTo>
                <a:lnTo>
                  <a:pt x="1474445" y="1047750"/>
                </a:lnTo>
                <a:lnTo>
                  <a:pt x="1474445" y="0"/>
                </a:lnTo>
                <a:lnTo>
                  <a:pt x="0" y="0"/>
                </a:lnTo>
                <a:close/>
                <a:moveTo>
                  <a:pt x="1347262" y="451390"/>
                </a:moveTo>
                <a:lnTo>
                  <a:pt x="835678" y="451390"/>
                </a:lnTo>
                <a:lnTo>
                  <a:pt x="835678" y="567119"/>
                </a:lnTo>
                <a:lnTo>
                  <a:pt x="1347262" y="567119"/>
                </a:lnTo>
                <a:lnTo>
                  <a:pt x="1347262" y="932783"/>
                </a:lnTo>
                <a:lnTo>
                  <a:pt x="127183" y="932783"/>
                </a:lnTo>
                <a:lnTo>
                  <a:pt x="127183" y="567119"/>
                </a:lnTo>
                <a:lnTo>
                  <a:pt x="638768" y="567119"/>
                </a:lnTo>
                <a:lnTo>
                  <a:pt x="638768" y="451390"/>
                </a:lnTo>
                <a:lnTo>
                  <a:pt x="127183" y="451390"/>
                </a:lnTo>
                <a:lnTo>
                  <a:pt x="127183" y="115729"/>
                </a:lnTo>
                <a:lnTo>
                  <a:pt x="1347357" y="115729"/>
                </a:lnTo>
                <a:lnTo>
                  <a:pt x="1347357" y="451390"/>
                </a:lnTo>
                <a:close/>
              </a:path>
            </a:pathLst>
          </a:custGeom>
          <a:solidFill>
            <a:schemeClr val="tx1"/>
          </a:solidFill>
          <a:ln w="9488" cap="flat">
            <a:noFill/>
            <a:prstDash val="solid"/>
            <a:miter/>
          </a:ln>
        </p:spPr>
        <p:txBody>
          <a:bodyPr rtlCol="0" anchor="ctr"/>
          <a:lstStyle/>
          <a:p>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9BA42084-A64A-38BE-F1DF-4CC693EF28BA}"/>
              </a:ext>
            </a:extLst>
          </p:cNvPr>
          <p:cNvSpPr>
            <a:spLocks noGrp="1"/>
          </p:cNvSpPr>
          <p:nvPr>
            <p:ph type="body" sz="quarter" idx="18" hasCustomPrompt="1"/>
          </p:nvPr>
        </p:nvSpPr>
        <p:spPr>
          <a:xfrm>
            <a:off x="1117902" y="6493073"/>
            <a:ext cx="5949374" cy="120174"/>
          </a:xfrm>
          <a:prstGeom prst="rect">
            <a:avLst/>
          </a:prstGeom>
        </p:spPr>
        <p:txBody>
          <a:bodyPr bIns="0" anchor="b"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1) Click to add footnotes (2) Click to add footnotes (3) Click to add footnotes </a:t>
            </a:r>
          </a:p>
        </p:txBody>
      </p:sp>
      <p:sp>
        <p:nvSpPr>
          <p:cNvPr id="11" name="Text Placeholder 2">
            <a:extLst>
              <a:ext uri="{FF2B5EF4-FFF2-40B4-BE49-F238E27FC236}">
                <a16:creationId xmlns:a16="http://schemas.microsoft.com/office/drawing/2014/main" id="{E56C3754-920F-A984-F3DE-5096F37EE47E}"/>
              </a:ext>
            </a:extLst>
          </p:cNvPr>
          <p:cNvSpPr>
            <a:spLocks noGrp="1"/>
          </p:cNvSpPr>
          <p:nvPr>
            <p:ph type="body" sz="quarter" idx="19" hasCustomPrompt="1"/>
          </p:nvPr>
        </p:nvSpPr>
        <p:spPr>
          <a:xfrm>
            <a:off x="1117902" y="6623050"/>
            <a:ext cx="5949374" cy="117525"/>
          </a:xfrm>
          <a:prstGeom prst="rect">
            <a:avLst/>
          </a:prstGeom>
        </p:spPr>
        <p:txBody>
          <a:bodyPr anchor="ctr" anchorCtr="0"/>
          <a:lstStyle>
            <a:lvl1pPr>
              <a:lnSpc>
                <a:spcPct val="100000"/>
              </a:lnSpc>
              <a:spcBef>
                <a:spcPts val="0"/>
              </a:spcBef>
              <a:defRPr sz="800" b="0" i="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vl2pPr>
              <a:lnSpc>
                <a:spcPct val="100000"/>
              </a:lnSpc>
              <a:spcBef>
                <a:spcPts val="0"/>
              </a:spcBef>
              <a:defRPr sz="700" b="0"/>
            </a:lvl2pPr>
            <a:lvl3pPr>
              <a:lnSpc>
                <a:spcPct val="100000"/>
              </a:lnSpc>
              <a:spcBef>
                <a:spcPts val="0"/>
              </a:spcBef>
              <a:defRPr sz="700" b="0"/>
            </a:lvl3pPr>
            <a:lvl4pPr>
              <a:lnSpc>
                <a:spcPct val="100000"/>
              </a:lnSpc>
              <a:spcBef>
                <a:spcPts val="0"/>
              </a:spcBef>
              <a:defRPr sz="700" b="0"/>
            </a:lvl4pPr>
            <a:lvl5pPr>
              <a:lnSpc>
                <a:spcPct val="100000"/>
              </a:lnSpc>
              <a:spcBef>
                <a:spcPts val="0"/>
              </a:spcBef>
              <a:defRPr sz="700" b="0"/>
            </a:lvl5pPr>
          </a:lstStyle>
          <a:p>
            <a:pPr lvl="0"/>
            <a:r>
              <a:rPr lang="en-GB" dirty="0"/>
              <a:t>Source: Click to add sources</a:t>
            </a:r>
          </a:p>
        </p:txBody>
      </p:sp>
      <p:sp>
        <p:nvSpPr>
          <p:cNvPr id="30" name="TextBox 29">
            <a:extLst>
              <a:ext uri="{FF2B5EF4-FFF2-40B4-BE49-F238E27FC236}">
                <a16:creationId xmlns:a16="http://schemas.microsoft.com/office/drawing/2014/main" id="{55F46690-6C5D-858D-0CB8-A44EAD3C5B83}"/>
              </a:ext>
            </a:extLst>
          </p:cNvPr>
          <p:cNvSpPr txBox="1"/>
          <p:nvPr userDrawn="1"/>
        </p:nvSpPr>
        <p:spPr>
          <a:xfrm>
            <a:off x="10504982" y="6617463"/>
            <a:ext cx="744608" cy="123111"/>
          </a:xfrm>
          <a:prstGeom prst="rect">
            <a:avLst/>
          </a:prstGeom>
          <a:noFill/>
        </p:spPr>
        <p:txBody>
          <a:bodyPr wrap="square" lIns="0" tIns="0" rIns="0" bIns="0" rtlCol="0">
            <a:spAutoFit/>
          </a:bodyPr>
          <a:lstStyle/>
          <a:p>
            <a:pPr algn="r"/>
            <a:r>
              <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 Rewire 2024</a:t>
            </a:r>
          </a:p>
        </p:txBody>
      </p:sp>
      <p:sp>
        <p:nvSpPr>
          <p:cNvPr id="31" name="TextBox 30">
            <a:extLst>
              <a:ext uri="{FF2B5EF4-FFF2-40B4-BE49-F238E27FC236}">
                <a16:creationId xmlns:a16="http://schemas.microsoft.com/office/drawing/2014/main" id="{23E7FC8E-DCCF-5AF1-8DCE-C15A4B716D80}"/>
              </a:ext>
            </a:extLst>
          </p:cNvPr>
          <p:cNvSpPr txBox="1"/>
          <p:nvPr userDrawn="1"/>
        </p:nvSpPr>
        <p:spPr>
          <a:xfrm>
            <a:off x="11249590" y="6617463"/>
            <a:ext cx="251999" cy="123111"/>
          </a:xfrm>
          <a:prstGeom prst="rect">
            <a:avLst/>
          </a:prstGeom>
          <a:noFill/>
        </p:spPr>
        <p:txBody>
          <a:bodyPr wrap="square" lIns="0" tIns="0" rIns="0" bIns="0" rtlCol="0">
            <a:spAutoFit/>
          </a:bodyPr>
          <a:lstStyle/>
          <a:p>
            <a:pPr algn="r"/>
            <a:fld id="{98E74C09-5A80-224F-A1C1-E014C970A87A}" type="slidenum">
              <a:rPr lang="en-US" sz="800" b="0" i="0" smtClean="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rPr>
              <a:t>‹#›</a:t>
            </a:fld>
            <a:endParaRPr lang="en-US" sz="800" b="0" i="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32" name="Text Placeholder 18">
            <a:extLst>
              <a:ext uri="{FF2B5EF4-FFF2-40B4-BE49-F238E27FC236}">
                <a16:creationId xmlns:a16="http://schemas.microsoft.com/office/drawing/2014/main" id="{ABE85663-0BE8-6A73-CBC9-F8C26F8859E6}"/>
              </a:ext>
            </a:extLst>
          </p:cNvPr>
          <p:cNvSpPr>
            <a:spLocks noGrp="1"/>
          </p:cNvSpPr>
          <p:nvPr>
            <p:ph type="body" sz="quarter" idx="21" hasCustomPrompt="1"/>
          </p:nvPr>
        </p:nvSpPr>
        <p:spPr>
          <a:xfrm>
            <a:off x="552450" y="127228"/>
            <a:ext cx="2814638" cy="160813"/>
          </a:xfrm>
          <a:prstGeom prst="rect">
            <a:avLst/>
          </a:prstGeom>
        </p:spPr>
        <p:txBody>
          <a:bodyPr lIns="0" tIns="0" rIns="0" bIns="0">
            <a:spAutoFit/>
          </a:bodyPr>
          <a:lstStyle>
            <a:lvl1pPr>
              <a:defRPr sz="100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a:lstStyle>
          <a:p>
            <a:pPr lvl="0"/>
            <a:r>
              <a:rPr lang="en-US" dirty="0"/>
              <a:t>Section</a:t>
            </a:r>
          </a:p>
        </p:txBody>
      </p:sp>
    </p:spTree>
    <p:extLst>
      <p:ext uri="{BB962C8B-B14F-4D97-AF65-F5344CB8AC3E}">
        <p14:creationId xmlns:p14="http://schemas.microsoft.com/office/powerpoint/2010/main" val="17589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82" userDrawn="1">
          <p15:clr>
            <a:srgbClr val="FBAE40"/>
          </p15:clr>
        </p15:guide>
        <p15:guide id="3" pos="3999" userDrawn="1">
          <p15:clr>
            <a:srgbClr val="FBAE40"/>
          </p15:clr>
        </p15:guide>
        <p15:guide id="4" orient="horz" pos="179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image" Target="../media/image1.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oleObject" Target="../embeddings/oleObject19.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9270E45-81A8-B750-2E1F-E0F628FD7B65}"/>
              </a:ext>
            </a:extLst>
          </p:cNvPr>
          <p:cNvGraphicFramePr>
            <a:graphicFrameLocks noChangeAspect="1"/>
          </p:cNvGraphicFramePr>
          <p:nvPr userDrawn="1">
            <p:custDataLst>
              <p:tags r:id="rId19"/>
            </p:custDataLst>
            <p:extLst>
              <p:ext uri="{D42A27DB-BD31-4B8C-83A1-F6EECF244321}">
                <p14:modId xmlns:p14="http://schemas.microsoft.com/office/powerpoint/2010/main" val="2550644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606" imgH="608" progId="TCLayout.ActiveDocument.1">
                  <p:embed/>
                </p:oleObj>
              </mc:Choice>
              <mc:Fallback>
                <p:oleObj name="think-cell Slide" r:id="rId20" imgW="606" imgH="608" progId="TCLayout.ActiveDocument.1">
                  <p:embed/>
                  <p:pic>
                    <p:nvPicPr>
                      <p:cNvPr id="7" name="think-cell data - do not delete" hidden="1">
                        <a:extLst>
                          <a:ext uri="{FF2B5EF4-FFF2-40B4-BE49-F238E27FC236}">
                            <a16:creationId xmlns:a16="http://schemas.microsoft.com/office/drawing/2014/main" id="{99270E45-81A8-B750-2E1F-E0F628FD7B65}"/>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3" name="Title Placeholder 1">
            <a:extLst>
              <a:ext uri="{FF2B5EF4-FFF2-40B4-BE49-F238E27FC236}">
                <a16:creationId xmlns:a16="http://schemas.microsoft.com/office/drawing/2014/main" id="{AC6E14F4-40B1-1D21-21B2-EA6F2B41C415}"/>
              </a:ext>
            </a:extLst>
          </p:cNvPr>
          <p:cNvSpPr>
            <a:spLocks noGrp="1"/>
          </p:cNvSpPr>
          <p:nvPr>
            <p:ph type="title"/>
          </p:nvPr>
        </p:nvSpPr>
        <p:spPr>
          <a:xfrm>
            <a:off x="553138" y="493518"/>
            <a:ext cx="11088000" cy="792000"/>
          </a:xfrm>
          <a:prstGeom prst="rect">
            <a:avLst/>
          </a:prstGeom>
        </p:spPr>
        <p:txBody>
          <a:bodyPr vert="horz" wrap="square" lIns="0" tIns="0" rIns="0" bIns="0" rtlCol="0" anchor="t" anchorCtr="0">
            <a:noAutofit/>
          </a:bodyPr>
          <a:lstStyle/>
          <a:p>
            <a:pPr lvl="0">
              <a:lnSpc>
                <a:spcPct val="84000"/>
              </a:lnSpc>
            </a:pPr>
            <a:r>
              <a:rPr lang="en-US" dirty="0"/>
              <a:t>Title – One line is better, two is also ok</a:t>
            </a:r>
            <a:br>
              <a:rPr lang="en-US" dirty="0"/>
            </a:br>
            <a:endParaRPr lang="en-US" dirty="0"/>
          </a:p>
        </p:txBody>
      </p:sp>
    </p:spTree>
    <p:extLst>
      <p:ext uri="{BB962C8B-B14F-4D97-AF65-F5344CB8AC3E}">
        <p14:creationId xmlns:p14="http://schemas.microsoft.com/office/powerpoint/2010/main" val="78413510"/>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681" r:id="rId4"/>
    <p:sldLayoutId id="2147483784" r:id="rId5"/>
    <p:sldLayoutId id="2147483779" r:id="rId6"/>
    <p:sldLayoutId id="2147483716" r:id="rId7"/>
    <p:sldLayoutId id="2147483715" r:id="rId8"/>
    <p:sldLayoutId id="2147483714" r:id="rId9"/>
    <p:sldLayoutId id="2147483788" r:id="rId10"/>
    <p:sldLayoutId id="2147483780" r:id="rId11"/>
    <p:sldLayoutId id="2147483718" r:id="rId12"/>
    <p:sldLayoutId id="2147483720" r:id="rId13"/>
    <p:sldLayoutId id="2147483782" r:id="rId14"/>
    <p:sldLayoutId id="2147483667" r:id="rId15"/>
    <p:sldLayoutId id="2147483768" r:id="rId16"/>
    <p:sldLayoutId id="214748367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55" rtl="0" eaLnBrk="1" latinLnBrk="0" hangingPunct="1">
        <a:lnSpc>
          <a:spcPct val="100000"/>
        </a:lnSpc>
        <a:spcBef>
          <a:spcPct val="0"/>
        </a:spcBef>
        <a:buNone/>
        <a:defRPr lang="en-US" sz="2800" b="1" i="0" kern="1200" cap="none" baseline="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p:titleStyle>
    <p:bodyStyle>
      <a:lvl1pPr marL="0" indent="0" algn="l" defTabSz="914355" rtl="0" eaLnBrk="1" latinLnBrk="0" hangingPunct="1">
        <a:lnSpc>
          <a:spcPct val="110000"/>
        </a:lnSpc>
        <a:spcBef>
          <a:spcPts val="1000"/>
        </a:spcBef>
        <a:buFont typeface="Arial" panose="020B0604020202020204" pitchFamily="34" charset="0"/>
        <a:buNone/>
        <a:defRPr sz="1800" b="0" i="0" kern="1200" baseline="0">
          <a:solidFill>
            <a:schemeClr val="accent2"/>
          </a:solidFill>
          <a:latin typeface="Articulat CF Demi Bold" pitchFamily="2" charset="77"/>
          <a:ea typeface="+mn-ea"/>
          <a:cs typeface="+mn-cs"/>
        </a:defRPr>
      </a:lvl1pPr>
      <a:lvl2pPr marL="0" indent="0" algn="l" defTabSz="914355" rtl="0" eaLnBrk="1" latinLnBrk="0" hangingPunct="1">
        <a:lnSpc>
          <a:spcPct val="110000"/>
        </a:lnSpc>
        <a:spcBef>
          <a:spcPts val="1000"/>
        </a:spcBef>
        <a:buFont typeface="Arial" panose="020B0604020202020204" pitchFamily="34" charset="0"/>
        <a:buNone/>
        <a:defRPr sz="1800" b="0" i="0" kern="1200" baseline="0">
          <a:solidFill>
            <a:schemeClr val="accent2"/>
          </a:solidFill>
          <a:latin typeface="Articulat CF" pitchFamily="2" charset="77"/>
          <a:ea typeface="+mn-ea"/>
          <a:cs typeface="+mn-cs"/>
        </a:defRPr>
      </a:lvl2pPr>
      <a:lvl3pPr marL="180000" indent="-180000" algn="l" defTabSz="914355" rtl="0" eaLnBrk="1" latinLnBrk="0" hangingPunct="1">
        <a:lnSpc>
          <a:spcPct val="110000"/>
        </a:lnSpc>
        <a:spcBef>
          <a:spcPts val="1000"/>
        </a:spcBef>
        <a:buClrTx/>
        <a:buSzPct val="100000"/>
        <a:buFont typeface="Wingdings" pitchFamily="2" charset="2"/>
        <a:buChar char="§"/>
        <a:defRPr sz="1800" b="0" i="0" kern="1200" baseline="0">
          <a:solidFill>
            <a:schemeClr val="accent2"/>
          </a:solidFill>
          <a:latin typeface="Articulat CF" pitchFamily="2" charset="77"/>
          <a:ea typeface="+mn-ea"/>
          <a:cs typeface="+mn-cs"/>
        </a:defRPr>
      </a:lvl3pPr>
      <a:lvl4pPr marL="360000" indent="-180000" algn="l" defTabSz="914355" rtl="0" eaLnBrk="1" latinLnBrk="0" hangingPunct="1">
        <a:lnSpc>
          <a:spcPct val="110000"/>
        </a:lnSpc>
        <a:spcBef>
          <a:spcPts val="1000"/>
        </a:spcBef>
        <a:buClrTx/>
        <a:buSzPct val="100000"/>
        <a:buFont typeface="System Font Regular"/>
        <a:buChar char="–"/>
        <a:defRPr sz="1800" b="0" i="0" kern="1200" baseline="0">
          <a:solidFill>
            <a:schemeClr val="accent2"/>
          </a:solidFill>
          <a:latin typeface="Articulat CF" pitchFamily="2" charset="77"/>
          <a:ea typeface="+mn-ea"/>
          <a:cs typeface="+mn-cs"/>
        </a:defRPr>
      </a:lvl4pPr>
      <a:lvl5pPr marL="360000" indent="0" algn="l" defTabSz="914355" rtl="0" eaLnBrk="1" latinLnBrk="0" hangingPunct="1">
        <a:lnSpc>
          <a:spcPct val="110000"/>
        </a:lnSpc>
        <a:spcBef>
          <a:spcPts val="300"/>
        </a:spcBef>
        <a:buFont typeface="URW DIN" panose="00000500000000000000" pitchFamily="50" charset="0"/>
        <a:buNone/>
        <a:defRPr sz="1800" b="0" i="0" kern="1200" baseline="0">
          <a:solidFill>
            <a:schemeClr val="accent2"/>
          </a:solidFill>
          <a:latin typeface="Articulat CF" pitchFamily="2" charset="77"/>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33" userDrawn="1">
          <p15:clr>
            <a:srgbClr val="F26B43"/>
          </p15:clr>
        </p15:guide>
        <p15:guide id="3" orient="horz" pos="3974" userDrawn="1">
          <p15:clr>
            <a:srgbClr val="F26B43"/>
          </p15:clr>
        </p15:guide>
        <p15:guide id="8" pos="348" userDrawn="1">
          <p15:clr>
            <a:srgbClr val="F26B43"/>
          </p15:clr>
        </p15:guide>
        <p15:guide id="9" orient="horz" pos="300" userDrawn="1">
          <p15:clr>
            <a:srgbClr val="F26B43"/>
          </p15:clr>
        </p15:guide>
        <p15:guide id="11" pos="3682" userDrawn="1">
          <p15:clr>
            <a:srgbClr val="F26B43"/>
          </p15:clr>
        </p15:guide>
        <p15:guide id="12" pos="3999" userDrawn="1">
          <p15:clr>
            <a:srgbClr val="F26B43"/>
          </p15:clr>
        </p15:guide>
        <p15:guide id="13" orient="horz" pos="777" userDrawn="1">
          <p15:clr>
            <a:srgbClr val="F26B43"/>
          </p15:clr>
        </p15:guide>
        <p15:guide id="14"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9270E45-81A8-B750-2E1F-E0F628FD7B65}"/>
              </a:ext>
            </a:extLst>
          </p:cNvPr>
          <p:cNvGraphicFramePr>
            <a:graphicFrameLocks noChangeAspect="1"/>
          </p:cNvGraphicFramePr>
          <p:nvPr userDrawn="1">
            <p:custDataLst>
              <p:tags r:id="rId30"/>
            </p:custDataLst>
            <p:extLst>
              <p:ext uri="{D42A27DB-BD31-4B8C-83A1-F6EECF244321}">
                <p14:modId xmlns:p14="http://schemas.microsoft.com/office/powerpoint/2010/main" val="3693527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606" imgH="608" progId="TCLayout.ActiveDocument.1">
                  <p:embed/>
                </p:oleObj>
              </mc:Choice>
              <mc:Fallback>
                <p:oleObj name="think-cell Slide" r:id="rId31" imgW="606" imgH="608" progId="TCLayout.ActiveDocument.1">
                  <p:embed/>
                  <p:pic>
                    <p:nvPicPr>
                      <p:cNvPr id="7" name="think-cell data - do not delete" hidden="1">
                        <a:extLst>
                          <a:ext uri="{FF2B5EF4-FFF2-40B4-BE49-F238E27FC236}">
                            <a16:creationId xmlns:a16="http://schemas.microsoft.com/office/drawing/2014/main" id="{99270E45-81A8-B750-2E1F-E0F628FD7B65}"/>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3" name="Title Placeholder 1">
            <a:extLst>
              <a:ext uri="{FF2B5EF4-FFF2-40B4-BE49-F238E27FC236}">
                <a16:creationId xmlns:a16="http://schemas.microsoft.com/office/drawing/2014/main" id="{AC6E14F4-40B1-1D21-21B2-EA6F2B41C415}"/>
              </a:ext>
            </a:extLst>
          </p:cNvPr>
          <p:cNvSpPr>
            <a:spLocks noGrp="1"/>
          </p:cNvSpPr>
          <p:nvPr>
            <p:ph type="title"/>
          </p:nvPr>
        </p:nvSpPr>
        <p:spPr>
          <a:xfrm>
            <a:off x="553138" y="493518"/>
            <a:ext cx="11088000" cy="430887"/>
          </a:xfrm>
          <a:prstGeom prst="rect">
            <a:avLst/>
          </a:prstGeom>
          <a:noFill/>
        </p:spPr>
        <p:txBody>
          <a:bodyPr vert="horz" wrap="square" lIns="0" tIns="0" rIns="0" bIns="0" rtlCol="0">
            <a:noAutofit/>
          </a:bodyPr>
          <a:lstStyle/>
          <a:p>
            <a:pPr marL="0" lvl="0" defTabSz="228600"/>
            <a:r>
              <a:rPr lang="en-US"/>
              <a:t>Title – One line is better, two is also ok</a:t>
            </a:r>
          </a:p>
        </p:txBody>
      </p:sp>
    </p:spTree>
    <p:extLst>
      <p:ext uri="{BB962C8B-B14F-4D97-AF65-F5344CB8AC3E}">
        <p14:creationId xmlns:p14="http://schemas.microsoft.com/office/powerpoint/2010/main" val="303294470"/>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Lst>
  <p:hf hdr="0" ftr="0" dt="0"/>
  <p:txStyles>
    <p:titleStyle>
      <a:lvl1pPr algn="l" defTabSz="914355" rtl="0" eaLnBrk="1" latinLnBrk="0" hangingPunct="1">
        <a:lnSpc>
          <a:spcPct val="100000"/>
        </a:lnSpc>
        <a:spcBef>
          <a:spcPct val="0"/>
        </a:spcBef>
        <a:buNone/>
        <a:defRPr lang="en-US" sz="2800" b="1" i="0" kern="1200" cap="none" baseline="0" dirty="0">
          <a:solidFill>
            <a:schemeClr val="tx1"/>
          </a:solidFill>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defRPr>
      </a:lvl1pPr>
    </p:titleStyle>
    <p:bodyStyle>
      <a:lvl1pPr marL="0" indent="0" algn="l" defTabSz="914355" rtl="0" eaLnBrk="1" latinLnBrk="0" hangingPunct="1">
        <a:lnSpc>
          <a:spcPct val="110000"/>
        </a:lnSpc>
        <a:spcBef>
          <a:spcPts val="1000"/>
        </a:spcBef>
        <a:buFont typeface="Arial" panose="020B0604020202020204" pitchFamily="34" charset="0"/>
        <a:buNone/>
        <a:defRPr sz="1600" b="0" i="0" kern="1200" baseline="0">
          <a:solidFill>
            <a:schemeClr val="accent2"/>
          </a:solidFill>
          <a:latin typeface="Articulat CF Demi Bold" pitchFamily="2" charset="77"/>
          <a:ea typeface="+mn-ea"/>
          <a:cs typeface="+mn-cs"/>
        </a:defRPr>
      </a:lvl1pPr>
      <a:lvl2pPr marL="0" indent="0" algn="l" defTabSz="914355" rtl="0" eaLnBrk="1" latinLnBrk="0" hangingPunct="1">
        <a:lnSpc>
          <a:spcPct val="110000"/>
        </a:lnSpc>
        <a:spcBef>
          <a:spcPts val="1000"/>
        </a:spcBef>
        <a:buFont typeface="Arial" panose="020B0604020202020204" pitchFamily="34" charset="0"/>
        <a:buNone/>
        <a:defRPr sz="1600" b="0" i="0" kern="1200" baseline="0">
          <a:solidFill>
            <a:schemeClr val="accent2"/>
          </a:solidFill>
          <a:latin typeface="Articulat CF" pitchFamily="2" charset="77"/>
          <a:ea typeface="+mn-ea"/>
          <a:cs typeface="+mn-cs"/>
        </a:defRPr>
      </a:lvl2pPr>
      <a:lvl3pPr marL="180000" indent="-180000" algn="l" defTabSz="914355" rtl="0" eaLnBrk="1" latinLnBrk="0" hangingPunct="1">
        <a:lnSpc>
          <a:spcPct val="110000"/>
        </a:lnSpc>
        <a:spcBef>
          <a:spcPts val="1000"/>
        </a:spcBef>
        <a:buClrTx/>
        <a:buSzPct val="100000"/>
        <a:buFont typeface="Wingdings" pitchFamily="2" charset="2"/>
        <a:buChar char="§"/>
        <a:defRPr sz="1600" b="0" i="0" kern="1200" baseline="0">
          <a:solidFill>
            <a:schemeClr val="accent2"/>
          </a:solidFill>
          <a:latin typeface="Articulat CF" pitchFamily="2" charset="77"/>
          <a:ea typeface="+mn-ea"/>
          <a:cs typeface="+mn-cs"/>
        </a:defRPr>
      </a:lvl3pPr>
      <a:lvl4pPr marL="360000" indent="-180000" algn="l" defTabSz="914355" rtl="0" eaLnBrk="1" latinLnBrk="0" hangingPunct="1">
        <a:lnSpc>
          <a:spcPct val="110000"/>
        </a:lnSpc>
        <a:spcBef>
          <a:spcPts val="1000"/>
        </a:spcBef>
        <a:buClrTx/>
        <a:buSzPct val="100000"/>
        <a:buFont typeface="System Font Regular"/>
        <a:buChar char="–"/>
        <a:defRPr sz="1600" b="0" i="0" kern="1200" baseline="0">
          <a:solidFill>
            <a:schemeClr val="accent2"/>
          </a:solidFill>
          <a:latin typeface="Articulat CF" pitchFamily="2" charset="77"/>
          <a:ea typeface="+mn-ea"/>
          <a:cs typeface="+mn-cs"/>
        </a:defRPr>
      </a:lvl4pPr>
      <a:lvl5pPr marL="360000" indent="0" algn="l" defTabSz="914355" rtl="0" eaLnBrk="1" latinLnBrk="0" hangingPunct="1">
        <a:lnSpc>
          <a:spcPct val="110000"/>
        </a:lnSpc>
        <a:spcBef>
          <a:spcPts val="300"/>
        </a:spcBef>
        <a:buFont typeface="URW DIN" panose="00000500000000000000" pitchFamily="50" charset="0"/>
        <a:buNone/>
        <a:defRPr sz="1600" b="0" i="0" kern="1200" baseline="0">
          <a:solidFill>
            <a:schemeClr val="accent2"/>
          </a:solidFill>
          <a:latin typeface="Articulat CF" pitchFamily="2" charset="77"/>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33">
          <p15:clr>
            <a:srgbClr val="F26B43"/>
          </p15:clr>
        </p15:guide>
        <p15:guide id="3" orient="horz" pos="3974">
          <p15:clr>
            <a:srgbClr val="F26B43"/>
          </p15:clr>
        </p15:guide>
        <p15:guide id="8" pos="348">
          <p15:clr>
            <a:srgbClr val="F26B43"/>
          </p15:clr>
        </p15:guide>
        <p15:guide id="9" orient="horz" pos="300">
          <p15:clr>
            <a:srgbClr val="F26B43"/>
          </p15:clr>
        </p15:guide>
        <p15:guide id="11" pos="3682">
          <p15:clr>
            <a:srgbClr val="F26B43"/>
          </p15:clr>
        </p15:guide>
        <p15:guide id="12" pos="3999">
          <p15:clr>
            <a:srgbClr val="F26B43"/>
          </p15:clr>
        </p15:guide>
        <p15:guide id="13" orient="horz" pos="822">
          <p15:clr>
            <a:srgbClr val="F26B43"/>
          </p15:clr>
        </p15:guide>
        <p15:guide id="14"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5.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oleObject" Target="../embeddings/oleObject5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5.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5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5.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6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5.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5.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6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5.xml"/><Relationship Id="rId1" Type="http://schemas.openxmlformats.org/officeDocument/2006/relationships/tags" Target="../tags/tag67.xml"/><Relationship Id="rId5" Type="http://schemas.openxmlformats.org/officeDocument/2006/relationships/image" Target="../media/image2.emf"/><Relationship Id="rId4" Type="http://schemas.openxmlformats.org/officeDocument/2006/relationships/oleObject" Target="../embeddings/oleObject6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5.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5.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5.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66.bin"/></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42.xml"/><Relationship Id="rId1" Type="http://schemas.openxmlformats.org/officeDocument/2006/relationships/tags" Target="../tags/tag51.x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49.bin"/><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5.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6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5.xml"/><Relationship Id="rId1" Type="http://schemas.openxmlformats.org/officeDocument/2006/relationships/tags" Target="../tags/tag72.xml"/><Relationship Id="rId5" Type="http://schemas.openxmlformats.org/officeDocument/2006/relationships/image" Target="../media/image2.emf"/><Relationship Id="rId4" Type="http://schemas.openxmlformats.org/officeDocument/2006/relationships/oleObject" Target="../embeddings/oleObject6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5.xml"/><Relationship Id="rId1" Type="http://schemas.openxmlformats.org/officeDocument/2006/relationships/tags" Target="../tags/tag73.xml"/><Relationship Id="rId5" Type="http://schemas.openxmlformats.org/officeDocument/2006/relationships/image" Target="../media/image2.emf"/><Relationship Id="rId4" Type="http://schemas.openxmlformats.org/officeDocument/2006/relationships/oleObject" Target="../embeddings/oleObject69.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5.xml"/><Relationship Id="rId1" Type="http://schemas.openxmlformats.org/officeDocument/2006/relationships/tags" Target="../tags/tag74.xml"/><Relationship Id="rId5" Type="http://schemas.openxmlformats.org/officeDocument/2006/relationships/image" Target="../media/image2.emf"/><Relationship Id="rId4" Type="http://schemas.openxmlformats.org/officeDocument/2006/relationships/oleObject" Target="../embeddings/oleObject70.bin"/></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4.xml"/><Relationship Id="rId7" Type="http://schemas.openxmlformats.org/officeDocument/2006/relationships/image" Target="../media/image12.emf"/><Relationship Id="rId12" Type="http://schemas.openxmlformats.org/officeDocument/2006/relationships/image" Target="../media/image17.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50.bin"/><Relationship Id="rId11" Type="http://schemas.openxmlformats.org/officeDocument/2006/relationships/image" Target="../media/image16.png"/><Relationship Id="rId5" Type="http://schemas.openxmlformats.org/officeDocument/2006/relationships/notesSlide" Target="../notesSlides/notesSlide3.xml"/><Relationship Id="rId10" Type="http://schemas.openxmlformats.org/officeDocument/2006/relationships/image" Target="../media/image15.png"/><Relationship Id="rId4" Type="http://schemas.openxmlformats.org/officeDocument/2006/relationships/slideLayout" Target="../slideLayouts/slideLayout43.xm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4.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5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5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2.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5.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5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5.xml"/><Relationship Id="rId1" Type="http://schemas.openxmlformats.org/officeDocument/2006/relationships/tags" Target="../tags/tag59.xml"/><Relationship Id="rId5" Type="http://schemas.openxmlformats.org/officeDocument/2006/relationships/image" Target="../media/image2.emf"/><Relationship Id="rId4" Type="http://schemas.openxmlformats.org/officeDocument/2006/relationships/oleObject" Target="../embeddings/oleObject5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5.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5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F2C35AA-1660-E369-BFAC-AFADCFD0F463}"/>
              </a:ext>
            </a:extLst>
          </p:cNvPr>
          <p:cNvGraphicFramePr>
            <a:graphicFrameLocks noChangeAspect="1"/>
          </p:cNvGraphicFramePr>
          <p:nvPr>
            <p:custDataLst>
              <p:tags r:id="rId1"/>
            </p:custDataLst>
            <p:extLst>
              <p:ext uri="{D42A27DB-BD31-4B8C-83A1-F6EECF244321}">
                <p14:modId xmlns:p14="http://schemas.microsoft.com/office/powerpoint/2010/main" val="747917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10" name="think-cell data - do not delete" hidden="1">
                        <a:extLst>
                          <a:ext uri="{FF2B5EF4-FFF2-40B4-BE49-F238E27FC236}">
                            <a16:creationId xmlns:a16="http://schemas.microsoft.com/office/drawing/2014/main" id="{3F2C35AA-1660-E369-BFAC-AFADCFD0F4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090C4D4-DCA0-3B0B-CEF1-3BF7255B4404}"/>
              </a:ext>
            </a:extLst>
          </p:cNvPr>
          <p:cNvSpPr>
            <a:spLocks noGrp="1"/>
          </p:cNvSpPr>
          <p:nvPr>
            <p:ph sz="quarter" idx="12"/>
          </p:nvPr>
        </p:nvSpPr>
        <p:spPr/>
        <p:txBody>
          <a:bodyPr/>
          <a:lstStyle/>
          <a:p>
            <a:endParaRPr lang="en-US"/>
          </a:p>
        </p:txBody>
      </p:sp>
      <p:sp>
        <p:nvSpPr>
          <p:cNvPr id="6" name="Title 5">
            <a:extLst>
              <a:ext uri="{FF2B5EF4-FFF2-40B4-BE49-F238E27FC236}">
                <a16:creationId xmlns:a16="http://schemas.microsoft.com/office/drawing/2014/main" id="{879893E1-1956-E970-AE79-8FEEF6FD3ADF}"/>
              </a:ext>
            </a:extLst>
          </p:cNvPr>
          <p:cNvSpPr>
            <a:spLocks noGrp="1"/>
          </p:cNvSpPr>
          <p:nvPr>
            <p:ph type="title"/>
          </p:nvPr>
        </p:nvSpPr>
        <p:spPr>
          <a:solidFill>
            <a:schemeClr val="bg1"/>
          </a:solidFill>
        </p:spPr>
        <p:txBody>
          <a:bodyPr vert="horz"/>
          <a:lstStyle/>
          <a:p>
            <a:r>
              <a:rPr lang="en-US" sz="3200" dirty="0">
                <a:sym typeface="Arial" panose="020B0604020202020204" pitchFamily="34" charset="0"/>
              </a:rPr>
              <a:t>Competency framework</a:t>
            </a:r>
          </a:p>
        </p:txBody>
      </p:sp>
      <p:sp>
        <p:nvSpPr>
          <p:cNvPr id="8" name="Text Placeholder 7">
            <a:extLst>
              <a:ext uri="{FF2B5EF4-FFF2-40B4-BE49-F238E27FC236}">
                <a16:creationId xmlns:a16="http://schemas.microsoft.com/office/drawing/2014/main" id="{0C9AFE0D-9B40-9A39-293B-81CB47F267EC}"/>
              </a:ext>
            </a:extLst>
          </p:cNvPr>
          <p:cNvSpPr>
            <a:spLocks noGrp="1"/>
          </p:cNvSpPr>
          <p:nvPr>
            <p:ph type="body" sz="quarter" idx="15"/>
          </p:nvPr>
        </p:nvSpPr>
        <p:spPr/>
        <p:txBody>
          <a:bodyPr>
            <a:noAutofit/>
          </a:bodyPr>
          <a:lstStyle/>
          <a:p>
            <a:r>
              <a:rPr lang="en-US" sz="1800" dirty="0">
                <a:sym typeface="Arial" panose="020B0604020202020204" pitchFamily="34" charset="0"/>
              </a:rPr>
              <a:t>June 2024</a:t>
            </a:r>
          </a:p>
          <a:p>
            <a:endParaRPr lang="en-US" sz="1800" dirty="0"/>
          </a:p>
        </p:txBody>
      </p:sp>
      <p:sp>
        <p:nvSpPr>
          <p:cNvPr id="9" name="Text Placeholder 8">
            <a:extLst>
              <a:ext uri="{FF2B5EF4-FFF2-40B4-BE49-F238E27FC236}">
                <a16:creationId xmlns:a16="http://schemas.microsoft.com/office/drawing/2014/main" id="{368EDA65-A2D5-8BA5-3AF2-F745482E46AF}"/>
              </a:ext>
            </a:extLst>
          </p:cNvPr>
          <p:cNvSpPr>
            <a:spLocks noGrp="1"/>
          </p:cNvSpPr>
          <p:nvPr>
            <p:ph type="body" sz="quarter" idx="16"/>
          </p:nvPr>
        </p:nvSpPr>
        <p:spPr/>
        <p:txBody>
          <a:bodyPr/>
          <a:lstStyle/>
          <a:p>
            <a:r>
              <a:rPr lang="en-US" dirty="0">
                <a:sym typeface="Arial" panose="020B0604020202020204" pitchFamily="34" charset="0"/>
              </a:rPr>
              <a:t>V0.9</a:t>
            </a:r>
          </a:p>
        </p:txBody>
      </p:sp>
      <p:sp>
        <p:nvSpPr>
          <p:cNvPr id="2" name="Title 1">
            <a:extLst>
              <a:ext uri="{FF2B5EF4-FFF2-40B4-BE49-F238E27FC236}">
                <a16:creationId xmlns:a16="http://schemas.microsoft.com/office/drawing/2014/main" id="{CB981CE0-87B6-928B-2797-F365551CFB86}"/>
              </a:ext>
            </a:extLst>
          </p:cNvPr>
          <p:cNvSpPr txBox="1">
            <a:spLocks/>
          </p:cNvSpPr>
          <p:nvPr/>
        </p:nvSpPr>
        <p:spPr>
          <a:xfrm>
            <a:off x="286542" y="750927"/>
            <a:ext cx="5810252" cy="1107996"/>
          </a:xfrm>
          <a:prstGeom prst="rect">
            <a:avLst/>
          </a:prstGeom>
          <a:noFill/>
        </p:spPr>
        <p:txBody>
          <a:bodyPr vert="horz" wrap="square" lIns="0" tIns="0" rIns="0" bIns="0" rtlCol="0" anchor="t" anchorCtr="0">
            <a:spAutoFit/>
          </a:bodyPr>
          <a:lstStyle>
            <a:lvl1pPr algn="l" defTabSz="914355" rtl="0" eaLnBrk="1" latinLnBrk="0" hangingPunct="1">
              <a:lnSpc>
                <a:spcPct val="100000"/>
              </a:lnSpc>
              <a:spcBef>
                <a:spcPct val="0"/>
              </a:spcBef>
              <a:buNone/>
              <a:defRPr lang="en-GB" sz="3600" b="1" i="0" kern="1200" cap="none" baseline="0" dirty="0">
                <a:solidFill>
                  <a:schemeClr val="tx1"/>
                </a:solidFill>
                <a:latin typeface="Arial" panose="020B0604020202020204" pitchFamily="34" charset="0"/>
                <a:ea typeface="Calibri" panose="020F0502020204030204" pitchFamily="34" charset="0"/>
                <a:cs typeface="Arial" panose="020B0604020202020204" pitchFamily="34" charset="0"/>
              </a:defRPr>
            </a:lvl1pPr>
          </a:lstStyle>
          <a:p>
            <a:br>
              <a:rPr lang="en-US" dirty="0">
                <a:solidFill>
                  <a:srgbClr val="FF0000"/>
                </a:solidFill>
                <a:sym typeface="Arial" panose="020B0604020202020204" pitchFamily="34" charset="0"/>
              </a:rPr>
            </a:br>
            <a:endParaRPr lang="en-US" dirty="0">
              <a:solidFill>
                <a:srgbClr val="FF0000"/>
              </a:solidFill>
              <a:sym typeface="Arial" panose="020B0604020202020204" pitchFamily="34" charset="0"/>
            </a:endParaRPr>
          </a:p>
        </p:txBody>
      </p:sp>
    </p:spTree>
    <p:extLst>
      <p:ext uri="{BB962C8B-B14F-4D97-AF65-F5344CB8AC3E}">
        <p14:creationId xmlns:p14="http://schemas.microsoft.com/office/powerpoint/2010/main" val="29398621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953931686"/>
              </p:ext>
            </p:extLst>
          </p:nvPr>
        </p:nvGraphicFramePr>
        <p:xfrm>
          <a:off x="470546" y="605484"/>
          <a:ext cx="11569055" cy="6110460"/>
        </p:xfrm>
        <a:graphic>
          <a:graphicData uri="http://schemas.openxmlformats.org/drawingml/2006/table">
            <a:tbl>
              <a:tblPr firstRow="1" bandRow="1">
                <a:tableStyleId>{5C22544A-7EE6-4342-B048-85BDC9FD1C3A}</a:tableStyleId>
              </a:tblPr>
              <a:tblGrid>
                <a:gridCol w="2066560">
                  <a:extLst>
                    <a:ext uri="{9D8B030D-6E8A-4147-A177-3AD203B41FA5}">
                      <a16:colId xmlns:a16="http://schemas.microsoft.com/office/drawing/2014/main" val="2010582758"/>
                    </a:ext>
                  </a:extLst>
                </a:gridCol>
                <a:gridCol w="2774915">
                  <a:extLst>
                    <a:ext uri="{9D8B030D-6E8A-4147-A177-3AD203B41FA5}">
                      <a16:colId xmlns:a16="http://schemas.microsoft.com/office/drawing/2014/main" val="3881206508"/>
                    </a:ext>
                  </a:extLst>
                </a:gridCol>
                <a:gridCol w="3079707">
                  <a:extLst>
                    <a:ext uri="{9D8B030D-6E8A-4147-A177-3AD203B41FA5}">
                      <a16:colId xmlns:a16="http://schemas.microsoft.com/office/drawing/2014/main" val="2356519941"/>
                    </a:ext>
                  </a:extLst>
                </a:gridCol>
                <a:gridCol w="2667847">
                  <a:extLst>
                    <a:ext uri="{9D8B030D-6E8A-4147-A177-3AD203B41FA5}">
                      <a16:colId xmlns:a16="http://schemas.microsoft.com/office/drawing/2014/main" val="1209552632"/>
                    </a:ext>
                  </a:extLst>
                </a:gridCol>
                <a:gridCol w="980026">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1015945"/>
                  </a:ext>
                </a:extLst>
              </a:tr>
              <a:tr h="60609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fini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825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The ability to comprehensively assess model performance, interpret results and deploy models conform Rewire’s standard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rive decision-making based on model evaluation findings</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Lead and manage model evaluation efforts effectively, drive continuous improvement, and ensure alignment with organizational objectives.</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50537504"/>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mplementation and Evalua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Implements machine learning models using appropriate libraries or frameworks (e.g., scikit-learn, TensorFlow, </a:t>
                      </a:r>
                      <a:r>
                        <a:rPr lang="en-GB" sz="1000" b="0" i="0" u="none" strike="noStrike" dirty="0" err="1">
                          <a:solidFill>
                            <a:schemeClr val="tx1"/>
                          </a:solidFill>
                          <a:effectLst/>
                          <a:latin typeface="Arial" panose="020B0604020202020204" pitchFamily="34" charset="0"/>
                          <a:cs typeface="Arial" panose="020B0604020202020204" pitchFamily="34" charset="0"/>
                          <a:sym typeface="Arial" panose="020B0604020202020204" pitchFamily="34" charset="0"/>
                        </a:rPr>
                        <a:t>PyTorch</a:t>
                      </a: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a:t>
                      </a:r>
                    </a:p>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Evaluates model performance using relevant evaluation metrics and techniques (e.g., cross-validation, hyperparameter tuning).</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Assesses model fairness and bias using fairness-aware evaluation metrics and techniques.</a:t>
                      </a:r>
                    </a:p>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Investigates potential sources of bias in model predictions and takes corrective actions to mitigate biases effectively.</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advanced technical skills in model evaluation, including proficiency in selecting appropriate evaluation metrics, conducting cross-validation, and assessing model interpretability.</a:t>
                      </a:r>
                    </a:p>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Stays abreast of the latest research and best practices in model evaluation techniques and methodologies.</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odel deployment</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Capable of deploying machine learning models into production environments using appropriate technologies (e.g., Flask, Django, TensorFlow Serving).</a:t>
                      </a:r>
                    </a:p>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Understands the importance of versioning and maintaining consistency between development and production environment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expertise in deploying machine learning models using advanced techniques such as containerization (e.g., Docker, Kubernetes) and serverless computing.</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Facilitates cross-functional communication and coordination to integrate evaluation insights into the development and deployment processes.</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78929263"/>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Version Control and Reproducibility:</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Utilizes version control systems (e.g., Git) to manage code repositories and track changes in model development.</a:t>
                      </a:r>
                    </a:p>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Ensures reproducibility of experiments by documenting code, parameters, and experimental setup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Implements automated testing and validation processes to ensure the correctness and reliability of deployed models.</a:t>
                      </a:r>
                    </a:p>
                    <a:p>
                      <a:pPr marL="171450" indent="-171450" algn="l" rtl="0" fontAlgn="t">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Develops unit tests, integration tests, and end-to-end tests for model deployment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ocuments model evaluation processes, methodologies, and results in a clear and comprehensive manner.</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endParaRPr lang="en-GB" sz="1000" b="0" i="0" u="none" strike="noStrike" kern="1200" baseline="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onitoring and Logging Implementa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Implements logging and monitoring solutions to track model performance, data drift, and system health in real-time.</a:t>
                      </a:r>
                    </a:p>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Sets up alerting and notification systems to detect anomalies or deviations in model </a:t>
                      </a:r>
                      <a:r>
                        <a:rPr lang="en-GB" sz="1000" b="0" i="0" u="none" strike="noStrike" dirty="0" err="1">
                          <a:solidFill>
                            <a:schemeClr val="tx1"/>
                          </a:solidFill>
                          <a:effectLst/>
                          <a:latin typeface="Arial" panose="020B0604020202020204" pitchFamily="34" charset="0"/>
                          <a:cs typeface="Arial" panose="020B0604020202020204" pitchFamily="34" charset="0"/>
                          <a:sym typeface="Arial" panose="020B0604020202020204" pitchFamily="34" charset="0"/>
                        </a:rPr>
                        <a:t>behavior</a:t>
                      </a: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 and performance.</a:t>
                      </a:r>
                    </a:p>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Defines thresholds and triggers for alerts based on predefined metrics and key performance indicators (KPI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fines hypothesis and opportunities from model management/monitoring: what are drivers for reduction in model performance </a:t>
                      </a:r>
                    </a:p>
                    <a:p>
                      <a:pPr marL="171450" indent="-171450" algn="l" rtl="0" fontAlgn="t">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Assesses the business impact of model predictions and recommendations, considering factors such as cost-benefit analysis, ROI (Return on Investment), and KPI (Key Performance Indicator) alignment.</a:t>
                      </a:r>
                    </a:p>
                    <a:p>
                      <a:pPr marL="171450" indent="-171450" algn="l" rtl="0" fontAlgn="t">
                        <a:buFont typeface="Arial" panose="020B0604020202020204" pitchFamily="34" charset="0"/>
                        <a:buChar char="•"/>
                      </a:pP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Monitors model performance and effectiveness over time, identifying opportunities for optimization and improvement.</a:t>
                      </a:r>
                    </a:p>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Implements feedback loops and continuous evaluation processes to incorporate real-world performance data into model refinement effort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endParaRPr lang="en-GB" sz="1000" b="0" i="0" u="none" strike="noStrike" kern="1200" baseline="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7845293"/>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11828"/>
            <a:ext cx="11723041" cy="477614"/>
          </a:xfrm>
        </p:spPr>
        <p:txBody>
          <a:bodyPr vert="horz"/>
          <a:lstStyle/>
          <a:p>
            <a:r>
              <a:rPr lang="en-US" sz="2903" dirty="0">
                <a:solidFill>
                  <a:schemeClr val="accent1">
                    <a:lumMod val="50000"/>
                  </a:schemeClr>
                </a:solidFill>
                <a:latin typeface="Arial" panose="020B0604020202020204" pitchFamily="34" charset="0"/>
                <a:cs typeface="Arial" panose="020B0604020202020204" pitchFamily="34" charset="0"/>
              </a:rPr>
              <a:t>Data science| </a:t>
            </a:r>
            <a:r>
              <a:rPr lang="nl-NL" sz="2903" dirty="0">
                <a:solidFill>
                  <a:schemeClr val="tx1"/>
                </a:solidFill>
                <a:latin typeface="Arial" panose="020B0604020202020204" pitchFamily="34" charset="0"/>
                <a:ea typeface="Roboto Light" panose="02000000000000000000" pitchFamily="2" charset="0"/>
                <a:cs typeface="Arial" panose="020B0604020202020204" pitchFamily="34" charset="0"/>
              </a:rPr>
              <a:t>Model </a:t>
            </a:r>
            <a:r>
              <a:rPr lang="nl-NL" sz="2903" dirty="0" err="1">
                <a:solidFill>
                  <a:schemeClr val="tx1"/>
                </a:solidFill>
                <a:latin typeface="Arial" panose="020B0604020202020204" pitchFamily="34" charset="0"/>
                <a:ea typeface="Roboto Light" panose="02000000000000000000" pitchFamily="2" charset="0"/>
                <a:cs typeface="Arial" panose="020B0604020202020204" pitchFamily="34" charset="0"/>
              </a:rPr>
              <a:t>deployment</a:t>
            </a:r>
            <a:r>
              <a:rPr lang="nl-NL" sz="2903"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nl-NL" sz="2903" dirty="0">
                <a:solidFill>
                  <a:schemeClr val="tx1"/>
                </a:solidFill>
                <a:ea typeface="Roboto Light" panose="02000000000000000000" pitchFamily="2" charset="0"/>
              </a:rPr>
              <a:t>&amp; </a:t>
            </a:r>
            <a:r>
              <a:rPr lang="nl-NL" sz="2903" dirty="0">
                <a:solidFill>
                  <a:schemeClr val="tx1"/>
                </a:solidFill>
                <a:latin typeface="Arial" panose="020B0604020202020204" pitchFamily="34" charset="0"/>
                <a:ea typeface="Roboto Light" panose="02000000000000000000" pitchFamily="2" charset="0"/>
                <a:cs typeface="Arial" panose="020B0604020202020204" pitchFamily="34" charset="0"/>
              </a:rPr>
              <a:t>monitoring</a:t>
            </a:r>
            <a:r>
              <a:rPr lang="nl-NL" sz="2903" b="0" i="1"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rPr>
              <a:t>behavioral</a:t>
            </a:r>
            <a:r>
              <a:rPr lang="nl-NL" sz="2903" b="0" i="1"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rPr>
              <a:t>anchors</a:t>
            </a:r>
            <a:br>
              <a:rPr lang="nl-NL" sz="2903" dirty="0">
                <a:solidFill>
                  <a:schemeClr val="tx1"/>
                </a:solidFill>
                <a:latin typeface="Arial" panose="020B0604020202020204" pitchFamily="34" charset="0"/>
                <a:ea typeface="Roboto Light" panose="02000000000000000000" pitchFamily="2" charset="0"/>
                <a:cs typeface="Arial" panose="020B0604020202020204" pitchFamily="34" charset="0"/>
              </a:rPr>
            </a:br>
            <a:endParaRPr lang="en-US" sz="2903" dirty="0">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015033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1841459670"/>
              </p:ext>
            </p:extLst>
          </p:nvPr>
        </p:nvGraphicFramePr>
        <p:xfrm>
          <a:off x="470845" y="614063"/>
          <a:ext cx="11620166" cy="5913120"/>
        </p:xfrm>
        <a:graphic>
          <a:graphicData uri="http://schemas.openxmlformats.org/drawingml/2006/table">
            <a:tbl>
              <a:tblPr firstRow="1" bandRow="1">
                <a:tableStyleId>{5C22544A-7EE6-4342-B048-85BDC9FD1C3A}</a:tableStyleId>
              </a:tblPr>
              <a:tblGrid>
                <a:gridCol w="1594818">
                  <a:extLst>
                    <a:ext uri="{9D8B030D-6E8A-4147-A177-3AD203B41FA5}">
                      <a16:colId xmlns:a16="http://schemas.microsoft.com/office/drawing/2014/main" val="2010582758"/>
                    </a:ext>
                  </a:extLst>
                </a:gridCol>
                <a:gridCol w="2506337">
                  <a:extLst>
                    <a:ext uri="{9D8B030D-6E8A-4147-A177-3AD203B41FA5}">
                      <a16:colId xmlns:a16="http://schemas.microsoft.com/office/drawing/2014/main" val="3881206508"/>
                    </a:ext>
                  </a:extLst>
                </a:gridCol>
                <a:gridCol w="2506337">
                  <a:extLst>
                    <a:ext uri="{9D8B030D-6E8A-4147-A177-3AD203B41FA5}">
                      <a16:colId xmlns:a16="http://schemas.microsoft.com/office/drawing/2014/main" val="2356519941"/>
                    </a:ext>
                  </a:extLst>
                </a:gridCol>
                <a:gridCol w="2506337">
                  <a:extLst>
                    <a:ext uri="{9D8B030D-6E8A-4147-A177-3AD203B41FA5}">
                      <a16:colId xmlns:a16="http://schemas.microsoft.com/office/drawing/2014/main" val="1209552632"/>
                    </a:ext>
                  </a:extLst>
                </a:gridCol>
                <a:gridCol w="2506337">
                  <a:extLst>
                    <a:ext uri="{9D8B030D-6E8A-4147-A177-3AD203B41FA5}">
                      <a16:colId xmlns:a16="http://schemas.microsoft.com/office/drawing/2014/main" val="1549531709"/>
                    </a:ext>
                  </a:extLst>
                </a:gridCol>
              </a:tblGrid>
              <a:tr h="579120">
                <a:tc>
                  <a:txBody>
                    <a:bodyPr/>
                    <a:lstStyle/>
                    <a:p>
                      <a:r>
                        <a:rPr lang="en-US" sz="1400" b="1" kern="1200" dirty="0">
                          <a:solidFill>
                            <a:sysClr val="windowText" lastClr="000000"/>
                          </a:solidFill>
                          <a:latin typeface="Arial" panose="020B0604020202020204" pitchFamily="34" charset="0"/>
                          <a:ea typeface="+mn-ea"/>
                          <a:cs typeface="Arial" panose="020B0604020202020204" pitchFamily="34" charset="0"/>
                          <a:sym typeface="Arial" panose="020B0604020202020204" pitchFamily="34" charset="0"/>
                        </a:rPr>
                        <a:t>Sub-competenc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ysClr val="windowText" lastClr="000000"/>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ysClr val="windowText" lastClr="000000"/>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ysClr val="windowText" lastClr="000000"/>
                          </a:solidFill>
                          <a:latin typeface="Arial" panose="020B0604020202020204" pitchFamily="34" charset="0"/>
                          <a:cs typeface="Arial" panose="020B0604020202020204" pitchFamily="34" charset="0"/>
                          <a:sym typeface="Arial" panose="020B0604020202020204" pitchFamily="34" charset="0"/>
                        </a:rPr>
                        <a:t>Lead/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ysClr val="windowText" lastClr="000000"/>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1015945"/>
                  </a:ext>
                </a:extLst>
              </a:tr>
              <a:tr h="71824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Defini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spcBef>
                          <a:spcPts val="0"/>
                        </a:spcBef>
                        <a:spcAft>
                          <a:spcPts val="0"/>
                        </a:spcAft>
                        <a:buFont typeface="Arial" panose="020B0604020202020204" pitchFamily="34" charset="0"/>
                        <a:buChar cha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Implements robust, scalable &amp; reusable engineering solutions from specifications &amp; designs</a:t>
                      </a:r>
                    </a:p>
                    <a:p>
                      <a:pPr marL="171450" indent="-171450" algn="l" fontAlgn="ctr">
                        <a:spcBef>
                          <a:spcPts val="0"/>
                        </a:spcBef>
                        <a:spcAft>
                          <a:spcPts val="0"/>
                        </a:spcAft>
                        <a:buFont typeface="Arial" panose="020B0604020202020204" pitchFamily="34" charset="0"/>
                        <a:buChar cha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Contributes to designing solutions, breaks down engineering challenges, and ensures successful integration of all work</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spcBef>
                          <a:spcPts val="0"/>
                        </a:spcBef>
                        <a:spcAft>
                          <a:spcPts val="0"/>
                        </a:spcAft>
                        <a:buFont typeface="Arial" panose="020B0604020202020204" pitchFamily="34" charset="0"/>
                        <a:buChar cha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Designs, defines approach and develops technical systems based on project specifications and Rewire standards &amp; principles</a:t>
                      </a:r>
                    </a:p>
                    <a:p>
                      <a:pPr marL="171450" indent="-171450" algn="l" fontAlgn="ctr">
                        <a:spcBef>
                          <a:spcPts val="0"/>
                        </a:spcBef>
                        <a:spcAft>
                          <a:spcPts val="0"/>
                        </a:spcAft>
                        <a:buFont typeface="Arial" panose="020B0604020202020204" pitchFamily="34" charset="0"/>
                        <a:buChar cha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Shapes innovative engineering work in periodic planning for team and orchestrates successful execution from technical perspective</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spcBef>
                          <a:spcPts val="0"/>
                        </a:spcBef>
                        <a:spcAft>
                          <a:spcPts val="0"/>
                        </a:spcAft>
                        <a:buFont typeface="Arial" panose="020B0604020202020204" pitchFamily="34" charset="0"/>
                        <a:buChar cha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Defines Rewire standards &amp; principles for engineering work</a:t>
                      </a:r>
                    </a:p>
                    <a:p>
                      <a:pPr marL="171450" indent="-171450" algn="l" fontAlgn="ctr">
                        <a:spcBef>
                          <a:spcPts val="0"/>
                        </a:spcBef>
                        <a:spcAft>
                          <a:spcPts val="0"/>
                        </a:spcAft>
                        <a:buFont typeface="Arial" panose="020B0604020202020204" pitchFamily="34" charset="0"/>
                        <a:buChar cha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Shapes innovative engineering work using vision &amp; expertise, tailored to client situations</a:t>
                      </a:r>
                    </a:p>
                    <a:p>
                      <a:pPr marL="171450" indent="-171450" algn="l" fontAlgn="ctr">
                        <a:spcBef>
                          <a:spcPts val="0"/>
                        </a:spcBef>
                        <a:spcAft>
                          <a:spcPts val="0"/>
                        </a:spcAft>
                        <a:buFont typeface="Arial" panose="020B0604020202020204" pitchFamily="34" charset="0"/>
                        <a:buChar cha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Orchestrates successful execution across projects from technical perspective effectively</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spcBef>
                          <a:spcPts val="0"/>
                        </a:spcBef>
                        <a:spcAft>
                          <a:spcPts val="0"/>
                        </a:spcAft>
                        <a:buFont typeface="Arial" panose="020B0604020202020204" pitchFamily="34" charset="0"/>
                        <a:buChar cha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Shapes innovative engineering work in Rewire’s propositions using vision &amp; expertise to play into market trends</a:t>
                      </a:r>
                    </a:p>
                    <a:p>
                      <a:pPr marL="171450" indent="-171450" algn="l" fontAlgn="ctr">
                        <a:spcBef>
                          <a:spcPts val="0"/>
                        </a:spcBef>
                        <a:spcAft>
                          <a:spcPts val="0"/>
                        </a:spcAft>
                        <a:buFont typeface="Arial" panose="020B0604020202020204" pitchFamily="34" charset="0"/>
                        <a:buChar cha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Defines architectural guidelines to reach overarching, long-term, large-scale technical goals</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1"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Orchestrates successful execution of engineering work across multiple clients effectively</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386500"/>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Technical designing &amp; transla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ct val="100000"/>
                        </a:lnSpc>
                        <a:spcBef>
                          <a:spcPts val="0"/>
                        </a:spcBef>
                        <a:spcAft>
                          <a:spcPts val="0"/>
                        </a:spcAft>
                        <a:buFont typeface="Arial" panose="020B0604020202020204" pitchFamily="34" charset="0"/>
                        <a:buChar char="•"/>
                      </a:pPr>
                      <a:r>
                        <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Contributes to technical designs</a:t>
                      </a:r>
                    </a:p>
                    <a:p>
                      <a:pPr marL="171450" indent="-171450" algn="l" defTabSz="914355" rtl="0" eaLnBrk="1" fontAlgn="ctr" latinLnBrk="0" hangingPunct="1">
                        <a:lnSpc>
                          <a:spcPct val="100000"/>
                        </a:lnSpc>
                        <a:spcBef>
                          <a:spcPts val="0"/>
                        </a:spcBef>
                        <a:spcAft>
                          <a:spcPts val="0"/>
                        </a:spcAft>
                        <a:buFont typeface="Arial" panose="020B0604020202020204" pitchFamily="34" charset="0"/>
                        <a:buChar char="•"/>
                      </a:pPr>
                      <a:r>
                        <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Documents technical work in visual overviews</a:t>
                      </a:r>
                    </a:p>
                    <a:p>
                      <a:pPr marL="171450" indent="-171450" algn="l" defTabSz="914355" rtl="0" eaLnBrk="1" fontAlgn="ctr" latinLnBrk="0" hangingPunct="1">
                        <a:lnSpc>
                          <a:spcPct val="100000"/>
                        </a:lnSpc>
                        <a:spcBef>
                          <a:spcPts val="0"/>
                        </a:spcBef>
                        <a:spcAft>
                          <a:spcPts val="0"/>
                        </a:spcAft>
                        <a:buFont typeface="Arial" panose="020B0604020202020204" pitchFamily="34" charset="0"/>
                        <a:buChar char="•"/>
                      </a:pPr>
                      <a:r>
                        <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Explains the interrelation between technical tasks</a:t>
                      </a:r>
                    </a:p>
                    <a:p>
                      <a:pPr marL="171450" indent="-171450" algn="l" defTabSz="914355" rtl="0" eaLnBrk="1" fontAlgn="ctr" latinLnBrk="0" hangingPunct="1">
                        <a:lnSpc>
                          <a:spcPct val="100000"/>
                        </a:lnSpc>
                        <a:spcBef>
                          <a:spcPts val="0"/>
                        </a:spcBef>
                        <a:spcAft>
                          <a:spcPts val="0"/>
                        </a:spcAft>
                        <a:buFont typeface="Arial" panose="020B0604020202020204" pitchFamily="34" charset="0"/>
                        <a:buChar char="•"/>
                      </a:pPr>
                      <a:r>
                        <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Breaks down complex technical challenges into smaller work items</a:t>
                      </a:r>
                    </a:p>
                    <a:p>
                      <a:pPr marL="171450" indent="-171450" algn="l" defTabSz="914355" rtl="0" eaLnBrk="1" fontAlgn="ctr" latinLnBrk="0" hangingPunct="1">
                        <a:lnSpc>
                          <a:spcPct val="100000"/>
                        </a:lnSpc>
                        <a:spcBef>
                          <a:spcPts val="0"/>
                        </a:spcBef>
                        <a:spcAft>
                          <a:spcPts val="0"/>
                        </a:spcAft>
                        <a:buFont typeface="Arial" panose="020B0604020202020204" pitchFamily="34" charset="0"/>
                        <a:buChar char="•"/>
                      </a:pPr>
                      <a:r>
                        <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Explains goal and generated value of technical work clearly to broad (also non-technical) audience</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Creates design based on vision</a:t>
                      </a:r>
                    </a:p>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Collates input from different engineering specialties into one integrated design</a:t>
                      </a:r>
                    </a:p>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Evaluates and chooses tools and technologies, introduces innovations</a:t>
                      </a:r>
                    </a:p>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Shapes engineering components and defines requirements in periodic planning for team</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Orchestrates execution of engineering work across team effectively to avert technical (integration) challenges</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Designs and prioritizes based on value</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Creates vision on technical systems we build</a:t>
                      </a:r>
                    </a:p>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Benchmarks market perspectives to client situations</a:t>
                      </a:r>
                    </a:p>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Shapes engineering components in project proposals and defines requirements </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Orchestrates execution of engineering work across multiple teams effectively to avert technical (integration or dependency) challenges</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Makes translation from technical work to business/strategical priorities and vice versa</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Contributes to strategy creation/discussions using their technical perspective</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Shapes innovative engineering work in Rewire’s propositions using vision &amp; expertise to play into market trends</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Defines architectural guidelines for long-term strategic goals for:</a:t>
                      </a:r>
                    </a:p>
                    <a:p>
                      <a:pPr marL="628627" marR="0" lvl="1"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developing platforms from scratch</a:t>
                      </a:r>
                    </a:p>
                    <a:p>
                      <a:pPr marL="628627" marR="0" lvl="1"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approaching a new client situation from technical angle</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Orchestrates successful execution of engineering work across multiple clients effectively</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Co-shapes strategic discussions using technical expertise, bridging towards value</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16685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Developing</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Implements standards effectively</a:t>
                      </a:r>
                    </a:p>
                    <a:p>
                      <a:pPr marL="171450" indent="-171450" algn="l" defTabSz="914355" rtl="0" eaLnBrk="1" fontAlgn="ctr" latinLnBrk="0" hangingPunct="1">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Writes scalable and reliable code</a:t>
                      </a:r>
                    </a:p>
                    <a:p>
                      <a:pPr marL="171450" indent="-171450" algn="l" defTabSz="914355" rtl="0" eaLnBrk="1" fontAlgn="ctr" latinLnBrk="0" hangingPunct="1">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Effectively translates functional requirements into code</a:t>
                      </a:r>
                    </a:p>
                    <a:p>
                      <a:pPr marL="171450" indent="-171450" algn="l" defTabSz="914355" rtl="0" eaLnBrk="1" fontAlgn="ctr" latinLnBrk="0" hangingPunct="1">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Quickly learns new languages, frameworks and concepts</a:t>
                      </a:r>
                    </a:p>
                    <a:p>
                      <a:pPr marL="171450" indent="-171450" algn="l" defTabSz="914355" rtl="0" eaLnBrk="1" fontAlgn="ctr" latinLnBrk="0" hangingPunct="1">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Creates reusable building blocks</a:t>
                      </a:r>
                    </a:p>
                    <a:p>
                      <a:pPr marL="171450" indent="-171450" algn="l" defTabSz="914355" rtl="0" eaLnBrk="1" fontAlgn="ctr" latinLnBrk="0" hangingPunct="1">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Makes use of git workflows correctly and effectively</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Defines standards for project context</a:t>
                      </a:r>
                    </a:p>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Defines scalability and reliability in project context</a:t>
                      </a:r>
                    </a:p>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Defines the skeleton/blueprint/templates for the solution in wider sense</a:t>
                      </a:r>
                    </a:p>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Identifies reusability in new solutions</a:t>
                      </a:r>
                    </a:p>
                    <a:p>
                      <a:pPr marL="171450" indent="-171450" algn="l" fontAlgn="ctr">
                        <a:spcBef>
                          <a:spcPts val="0"/>
                        </a:spcBef>
                        <a:spcAft>
                          <a:spcPts val="0"/>
                        </a:spcAft>
                        <a:buFont typeface="Arial" panose="020B0604020202020204" pitchFamily="34" charset="0"/>
                        <a:buChar char="•"/>
                      </a:pPr>
                      <a:r>
                        <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Makes use of existing reusable components</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Sets development standards for Rewire</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Defines scalability and reliability considerations applicable to all clients</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Demonstrates deep expertise in solving challenging situations and/or uses advanced techniques</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a:solidFill>
                            <a:sysClr val="windowText" lastClr="000000"/>
                          </a:solidFill>
                          <a:effectLst/>
                          <a:latin typeface="Arial" panose="020B0604020202020204" pitchFamily="34" charset="0"/>
                          <a:cs typeface="Arial" panose="020B0604020202020204" pitchFamily="34" charset="0"/>
                          <a:sym typeface="Arial" panose="020B0604020202020204" pitchFamily="34" charset="0"/>
                        </a:rPr>
                        <a:t>Shapes internal structure for reusable technical designs &amp; components</a:t>
                      </a:r>
                      <a:endParaRPr lang="en-GB" sz="1000" b="0" i="0" u="none" strike="noStrike" dirty="0">
                        <a:solidFill>
                          <a:sysClr val="windowText" lastClr="000000"/>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panose="020B0604020202020204" pitchFamily="34" charset="0"/>
                        </a:rPr>
                        <a:t>Drives innovation in this area across client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33473551"/>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a:solidFill>
                  <a:schemeClr val="accent1">
                    <a:lumMod val="50000"/>
                  </a:schemeClr>
                </a:solidFill>
              </a:rPr>
              <a:t>Engineering|</a:t>
            </a:r>
            <a:r>
              <a:rPr lang="en-US" sz="2903" b="0" i="1" dirty="0">
                <a:solidFill>
                  <a:schemeClr val="tx1"/>
                </a:solidFill>
                <a:ea typeface="Roboto Light" panose="02000000000000000000" pitchFamily="2" charset="0"/>
              </a:rPr>
              <a:t> Behavioral anchors (1/2)</a:t>
            </a:r>
            <a:endParaRPr lang="en-US" sz="2903" b="0" i="1" dirty="0">
              <a:solidFill>
                <a:schemeClr val="accent4"/>
              </a:solidFill>
            </a:endParaRPr>
          </a:p>
        </p:txBody>
      </p:sp>
    </p:spTree>
    <p:extLst>
      <p:ext uri="{BB962C8B-B14F-4D97-AF65-F5344CB8AC3E}">
        <p14:creationId xmlns:p14="http://schemas.microsoft.com/office/powerpoint/2010/main" val="41957398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3439557258"/>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2324092789"/>
              </p:ext>
            </p:extLst>
          </p:nvPr>
        </p:nvGraphicFramePr>
        <p:xfrm>
          <a:off x="470845" y="614063"/>
          <a:ext cx="11620166" cy="6412720"/>
        </p:xfrm>
        <a:graphic>
          <a:graphicData uri="http://schemas.openxmlformats.org/drawingml/2006/table">
            <a:tbl>
              <a:tblPr firstRow="1" bandRow="1">
                <a:tableStyleId>{5C22544A-7EE6-4342-B048-85BDC9FD1C3A}</a:tableStyleId>
              </a:tblPr>
              <a:tblGrid>
                <a:gridCol w="1594818">
                  <a:extLst>
                    <a:ext uri="{9D8B030D-6E8A-4147-A177-3AD203B41FA5}">
                      <a16:colId xmlns:a16="http://schemas.microsoft.com/office/drawing/2014/main" val="2010582758"/>
                    </a:ext>
                  </a:extLst>
                </a:gridCol>
                <a:gridCol w="2506337">
                  <a:extLst>
                    <a:ext uri="{9D8B030D-6E8A-4147-A177-3AD203B41FA5}">
                      <a16:colId xmlns:a16="http://schemas.microsoft.com/office/drawing/2014/main" val="3881206508"/>
                    </a:ext>
                  </a:extLst>
                </a:gridCol>
                <a:gridCol w="2506337">
                  <a:extLst>
                    <a:ext uri="{9D8B030D-6E8A-4147-A177-3AD203B41FA5}">
                      <a16:colId xmlns:a16="http://schemas.microsoft.com/office/drawing/2014/main" val="2356519941"/>
                    </a:ext>
                  </a:extLst>
                </a:gridCol>
                <a:gridCol w="2506337">
                  <a:extLst>
                    <a:ext uri="{9D8B030D-6E8A-4147-A177-3AD203B41FA5}">
                      <a16:colId xmlns:a16="http://schemas.microsoft.com/office/drawing/2014/main" val="1209552632"/>
                    </a:ext>
                  </a:extLst>
                </a:gridCol>
                <a:gridCol w="2506337">
                  <a:extLst>
                    <a:ext uri="{9D8B030D-6E8A-4147-A177-3AD203B41FA5}">
                      <a16:colId xmlns:a16="http://schemas.microsoft.com/office/drawing/2014/main" val="1549531709"/>
                    </a:ext>
                  </a:extLst>
                </a:gridCol>
              </a:tblGrid>
              <a:tr h="579120">
                <a:tc>
                  <a:txBody>
                    <a:bodyPr/>
                    <a:lstStyle/>
                    <a:p>
                      <a:r>
                        <a:rPr lang="en-US" sz="1400" b="1" kern="1200" dirty="0">
                          <a:solidFill>
                            <a:sysClr val="windowText" lastClr="000000"/>
                          </a:solidFill>
                          <a:latin typeface="Arial" panose="020B0604020202020204" pitchFamily="34" charset="0"/>
                          <a:ea typeface="+mn-ea"/>
                          <a:cs typeface="Arial" panose="020B0604020202020204" pitchFamily="34" charset="0"/>
                          <a:sym typeface="Arial" panose="020B0604020202020204" pitchFamily="34" charset="0"/>
                        </a:rPr>
                        <a:t>Sub-competenc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ysClr val="windowText" lastClr="000000"/>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ysClr val="windowText" lastClr="000000"/>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ysClr val="windowText" lastClr="000000"/>
                          </a:solidFill>
                          <a:latin typeface="Arial" panose="020B0604020202020204" pitchFamily="34" charset="0"/>
                          <a:cs typeface="Arial" panose="020B0604020202020204" pitchFamily="34" charset="0"/>
                          <a:sym typeface="Arial" panose="020B0604020202020204" pitchFamily="34" charset="0"/>
                        </a:rPr>
                        <a:t>Lead/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ysClr val="windowText" lastClr="000000"/>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1015945"/>
                  </a:ext>
                </a:extLst>
              </a:tr>
              <a:tr h="71824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u="none" strike="noStrike" kern="800" dirty="0">
                          <a:solidFill>
                            <a:schemeClr val="tx1"/>
                          </a:solidFill>
                          <a:effectLst/>
                        </a:rPr>
                        <a:t>Testing &amp; integrating</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Properly integrates testing frameworks into solutions</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Automates testing</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Validates functionality of written code</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Ensures successful integrations with other solution components</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Applies standards to testing &amp; integration approaches</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Decides on testing frameworks to use</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Defines testing approach for solutions</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Ensures we build integrable solutions</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Sets Rewire standards, best practices &amp; benchmarks</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Creates testing frameworks for reuse</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Formulates testing &amp; integration strategies for client situation</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noProof="0">
                          <a:solidFill>
                            <a:sysClr val="windowText" lastClr="000000"/>
                          </a:solidFill>
                          <a:effectLst/>
                          <a:latin typeface="Arial" panose="020B0604020202020204" pitchFamily="34" charset="0"/>
                          <a:ea typeface="+mn-ea"/>
                          <a:cs typeface="Arial" panose="020B0604020202020204" pitchFamily="34" charset="0"/>
                        </a:rPr>
                        <a:t>Drives innovation in this area across clients</a:t>
                      </a:r>
                      <a:endParaRPr lang="en-GB" sz="1000" b="0" i="0" u="none" strike="noStrike" kern="1200" noProof="0" dirty="0">
                        <a:solidFill>
                          <a:sysClr val="windowText" lastClr="000000"/>
                        </a:solidFill>
                        <a:effectLst/>
                        <a:latin typeface="Arial" panose="020B0604020202020204" pitchFamily="34" charset="0"/>
                        <a:ea typeface="+mn-ea"/>
                        <a:cs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386500"/>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u="none" strike="noStrike" kern="800" dirty="0">
                          <a:solidFill>
                            <a:schemeClr val="tx1"/>
                          </a:solidFill>
                          <a:effectLst/>
                        </a:rPr>
                        <a:t>Implementing &amp; deploying</a:t>
                      </a:r>
                      <a:endParaRPr lang="en-GB" sz="1400" b="1" i="0" u="none" strike="noStrike" kern="800" dirty="0">
                        <a:solidFill>
                          <a:schemeClr val="tx1"/>
                        </a:solidFill>
                        <a:effectLst/>
                        <a:latin typeface="+mn-lt"/>
                        <a:ea typeface="+mn-ea"/>
                        <a:cs typeface="Calibri Light" panose="020F030202020403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Implements parts of automated deployment processes</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Deploys written code in external environments across DTAP layers properly</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Applies general engineering concepts like containerization &amp; orchestration</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Configures the needed infrastructure for solutions</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Translates designs to CICD approach</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Defines &amp; designs DTAP approach for solution</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Sets up needed infra and overarching technical components (like </a:t>
                      </a: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containerization &amp; orchestration) </a:t>
                      </a: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for solution</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Applies standards to implementation and deployment approaches</a:t>
                      </a:r>
                      <a:endParaRPr lang="en-US" sz="1000" b="0" i="0" u="none" strike="noStrike" kern="1200" dirty="0">
                        <a:solidFill>
                          <a:sysClr val="windowText" lastClr="000000"/>
                        </a:solidFill>
                        <a:effectLst/>
                        <a:latin typeface="Arial" panose="020B0604020202020204" pitchFamily="34" charset="0"/>
                        <a:ea typeface="+mn-ea"/>
                        <a:cs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Sets Rewire standards and determines or defines frameworks to use</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Architects scalable deployment for platform-scale infrastructure</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Defines approach to ensure reliability, robustness and scalability of implementation &amp; deployment strategies</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Distinguishes clearly between what is ours to do and what should be done by other parties in this area, and organizes accordingly</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noProof="0">
                          <a:solidFill>
                            <a:sysClr val="windowText" lastClr="000000"/>
                          </a:solidFill>
                          <a:effectLst/>
                          <a:latin typeface="Arial" panose="020B0604020202020204" pitchFamily="34" charset="0"/>
                          <a:ea typeface="+mn-ea"/>
                          <a:cs typeface="Arial" panose="020B0604020202020204" pitchFamily="34" charset="0"/>
                        </a:rPr>
                        <a:t>Drives innovation in this area across clients</a:t>
                      </a:r>
                      <a:endParaRPr lang="en-GB" sz="1000" b="0" i="0" u="none" strike="noStrike" kern="1200" noProof="0" dirty="0">
                        <a:solidFill>
                          <a:sysClr val="windowText" lastClr="000000"/>
                        </a:solidFill>
                        <a:effectLst/>
                        <a:latin typeface="Arial" panose="020B0604020202020204" pitchFamily="34" charset="0"/>
                        <a:ea typeface="+mn-ea"/>
                        <a:cs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16685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u="none" strike="noStrike" kern="800" dirty="0">
                          <a:solidFill>
                            <a:schemeClr val="tx1"/>
                          </a:solidFill>
                          <a:effectLst/>
                        </a:rPr>
                        <a:t>Operating, bug fixing &amp; maintaining</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Implements observability components (e.g. monitoring, audit trails, alerting, logging)</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Quickly isolates bugs &amp; identifies root causes</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Fixes bugs without adversely impacting other system components</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Identifies where to alter solutions due to operational challenges</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Defines approach for solution-scale observability, collating different observability components to create holistic and comprehensive overview</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Anticipates operational needs and designs appropriate solution</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Ensures sustainability of solution from technical, cost, security perspective</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rPr>
                        <a:t>Optimizes maintenance processes</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Defines quality KPIs based on project context or SLAs</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Defines approach for platform-scale observability</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Shapes frameworks for long-term sustainable platform-scale operation</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Sets Rewire standards, guidelines and procedures for operating &amp; maintaining platforms (or similar)</a:t>
                      </a:r>
                    </a:p>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rPr>
                        <a:t>Distinguishes clearly between what is ours to do and what should be done by other parties in this area, and organizes accordingly</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noProof="0">
                          <a:solidFill>
                            <a:sysClr val="windowText" lastClr="000000"/>
                          </a:solidFill>
                          <a:effectLst/>
                          <a:latin typeface="Arial" panose="020B0604020202020204" pitchFamily="34" charset="0"/>
                          <a:ea typeface="+mn-ea"/>
                          <a:cs typeface="Arial" panose="020B0604020202020204" pitchFamily="34" charset="0"/>
                        </a:rPr>
                        <a:t>Drives innovation in this area across clients</a:t>
                      </a:r>
                      <a:endParaRPr lang="en-GB" sz="1000" b="0" i="0" u="none" strike="noStrike" kern="1200" noProof="0" dirty="0">
                        <a:solidFill>
                          <a:sysClr val="windowText" lastClr="000000"/>
                        </a:solidFill>
                        <a:effectLst/>
                        <a:latin typeface="Arial" panose="020B0604020202020204" pitchFamily="34" charset="0"/>
                        <a:ea typeface="+mn-ea"/>
                        <a:cs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33473551"/>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a:solidFill>
                  <a:schemeClr val="accent1">
                    <a:lumMod val="50000"/>
                  </a:schemeClr>
                </a:solidFill>
              </a:rPr>
              <a:t>Engineering|</a:t>
            </a:r>
            <a:r>
              <a:rPr lang="en-US" sz="2903" b="0" i="1" dirty="0">
                <a:solidFill>
                  <a:schemeClr val="tx1"/>
                </a:solidFill>
                <a:ea typeface="Roboto Light" panose="02000000000000000000" pitchFamily="2" charset="0"/>
              </a:rPr>
              <a:t> Behavioral anchors (2/2)</a:t>
            </a:r>
            <a:endParaRPr lang="en-US" sz="2903" b="0" i="1" dirty="0">
              <a:solidFill>
                <a:schemeClr val="accent4"/>
              </a:solidFill>
            </a:endParaRPr>
          </a:p>
        </p:txBody>
      </p:sp>
    </p:spTree>
    <p:extLst>
      <p:ext uri="{BB962C8B-B14F-4D97-AF65-F5344CB8AC3E}">
        <p14:creationId xmlns:p14="http://schemas.microsoft.com/office/powerpoint/2010/main" val="206798105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599095902"/>
              </p:ext>
            </p:extLst>
          </p:nvPr>
        </p:nvGraphicFramePr>
        <p:xfrm>
          <a:off x="470844" y="872882"/>
          <a:ext cx="11416356" cy="5515748"/>
        </p:xfrm>
        <a:graphic>
          <a:graphicData uri="http://schemas.openxmlformats.org/drawingml/2006/table">
            <a:tbl>
              <a:tblPr firstRow="1" bandRow="1">
                <a:tableStyleId>{5C22544A-7EE6-4342-B048-85BDC9FD1C3A}</a:tableStyleId>
              </a:tblPr>
              <a:tblGrid>
                <a:gridCol w="2546676">
                  <a:extLst>
                    <a:ext uri="{9D8B030D-6E8A-4147-A177-3AD203B41FA5}">
                      <a16:colId xmlns:a16="http://schemas.microsoft.com/office/drawing/2014/main" val="2010582758"/>
                    </a:ext>
                  </a:extLst>
                </a:gridCol>
                <a:gridCol w="2217420">
                  <a:extLst>
                    <a:ext uri="{9D8B030D-6E8A-4147-A177-3AD203B41FA5}">
                      <a16:colId xmlns:a16="http://schemas.microsoft.com/office/drawing/2014/main" val="3881206508"/>
                    </a:ext>
                  </a:extLst>
                </a:gridCol>
                <a:gridCol w="2217420">
                  <a:extLst>
                    <a:ext uri="{9D8B030D-6E8A-4147-A177-3AD203B41FA5}">
                      <a16:colId xmlns:a16="http://schemas.microsoft.com/office/drawing/2014/main" val="2356519941"/>
                    </a:ext>
                  </a:extLst>
                </a:gridCol>
                <a:gridCol w="2217420">
                  <a:extLst>
                    <a:ext uri="{9D8B030D-6E8A-4147-A177-3AD203B41FA5}">
                      <a16:colId xmlns:a16="http://schemas.microsoft.com/office/drawing/2014/main" val="1209552632"/>
                    </a:ext>
                  </a:extLst>
                </a:gridCol>
                <a:gridCol w="2217420">
                  <a:extLst>
                    <a:ext uri="{9D8B030D-6E8A-4147-A177-3AD203B41FA5}">
                      <a16:colId xmlns:a16="http://schemas.microsoft.com/office/drawing/2014/main" val="1549531709"/>
                    </a:ext>
                  </a:extLst>
                </a:gridCol>
              </a:tblGrid>
              <a:tr h="409948">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1015945"/>
                  </a:ext>
                </a:extLst>
              </a:tr>
              <a:tr h="50533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fini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en-GB" sz="1000" b="1"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Gives answers to sub questions, with relevant consulting output</a:t>
                      </a:r>
                      <a:endPar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defTabSz="914355" rtl="0" eaLnBrk="1" fontAlgn="ctr" latinLnBrk="0" hangingPunct="1">
                        <a:lnSpc>
                          <a:spcPts val="1633"/>
                        </a:lnSpc>
                        <a:buFont typeface="Arial" panose="020B0604020202020204" pitchFamily="34" charset="0"/>
                        <a:buNone/>
                      </a:pPr>
                      <a:r>
                        <a:rPr lang="en-GB" sz="1000" b="1"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Owns one higher level strategic question</a:t>
                      </a:r>
                      <a:endPar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defTabSz="914355" rtl="0" eaLnBrk="1" fontAlgn="ctr" latinLnBrk="0" hangingPunct="1">
                        <a:lnSpc>
                          <a:spcPts val="1633"/>
                        </a:lnSpc>
                        <a:buFont typeface="Arial" panose="020B0604020202020204" pitchFamily="34" charset="0"/>
                        <a:buNone/>
                      </a:pPr>
                      <a:r>
                        <a:rPr lang="en-GB" sz="1000" b="1"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Leads the overall translation game on a full engagement</a:t>
                      </a:r>
                      <a:endPar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defTabSz="914355" rtl="0" eaLnBrk="1" fontAlgn="ctr" latinLnBrk="0" hangingPunct="1">
                        <a:lnSpc>
                          <a:spcPts val="1633"/>
                        </a:lnSpc>
                        <a:buFont typeface="Arial" panose="020B0604020202020204" pitchFamily="34" charset="0"/>
                        <a:buNone/>
                      </a:pPr>
                      <a:r>
                        <a:rPr lang="en-GB" sz="1000" b="1"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uilds a unique competence on the edge of impact &amp; data/AI</a:t>
                      </a:r>
                      <a:endPar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386500"/>
                  </a:ext>
                </a:extLst>
              </a:tr>
              <a:tr h="8298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ata &amp; AI strategy</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100" b="0" i="1"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Translation of ambition and challenges to strategy</a:t>
                      </a:r>
                      <a:endParaRPr lang="en-GB" sz="1100" b="0" i="1"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Effectively communicates observations bottom-up, which are filtered for strategic relevance</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Proactively contributes to identifying and answering strategic questions</a:t>
                      </a:r>
                      <a:endParaRPr lang="en-US"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Intuitively syntheses / deepens between strategic, tactical and operational levels</a:t>
                      </a:r>
                      <a:endParaRPr lang="en-US"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US"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Has an intuition for executive level topics and can contribute to setting the strategic agenda</a:t>
                      </a:r>
                      <a:endParaRPr lang="en-US"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11701896"/>
                  </a:ext>
                </a:extLst>
              </a:tr>
              <a:tr h="8298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sight development</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0" i="1" u="none" strike="noStrike"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Translation of analysis </a:t>
                      </a:r>
                      <a:r>
                        <a:rPr lang="en-GB" sz="1200" b="0" i="1" u="none" strike="noStrike" kern="800">
                          <a:solidFill>
                            <a:schemeClr val="tx1"/>
                          </a:solidFill>
                          <a:effectLst/>
                          <a:latin typeface="Arial" panose="020B0604020202020204" pitchFamily="34" charset="0"/>
                          <a:ea typeface="+mn-ea"/>
                          <a:cs typeface="Arial" panose="020B0604020202020204" pitchFamily="34" charset="0"/>
                          <a:sym typeface="Wingdings" panose="05000000000000000000" pitchFamily="2" charset="2"/>
                        </a:rPr>
                        <a:t>to</a:t>
                      </a:r>
                      <a:r>
                        <a:rPr lang="en-GB" sz="1200" b="0" i="1" u="none" strike="noStrike"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insight</a:t>
                      </a:r>
                      <a:endParaRPr lang="en-GB" sz="1200" b="0" i="1"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Executes relevant analyses and translates to an insight with senior team &amp; client input</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Takes the lead on answering a project (sub) question, by identifying required insights and steps to take</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Leads the problem solving and identification of killer insihts across workstreams</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Standardizes and innovates insight collection to ‘Champions League’ level for specific domains</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92386265"/>
                  </a:ext>
                </a:extLst>
              </a:tr>
              <a:tr h="8298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ata/AI solution or platform design</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0" i="0"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Translation of a problem to a design</a:t>
                      </a:r>
                      <a:endParaRPr lang="en-GB" sz="12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Produces high quality requirement- and design output on the component level</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Leads the end-to-end design of a process, solution or platform part</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Connects the dots across layers of abstraction and across disciplines within a higher level (data mgmt, solution, platform)</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Leads the way for Rewire and clients on a topic of expertise</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24597615"/>
                  </a:ext>
                </a:extLst>
              </a:tr>
              <a:tr h="8298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omain knowledge </a:t>
                      </a:r>
                      <a:r>
                        <a:rPr lang="en-GB" sz="1100" b="0" i="0"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function and/or industry)</a:t>
                      </a:r>
                      <a:endParaRPr lang="en-GB" sz="1100" b="0"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Quickly understands the client context and learns new skills needed for the project. </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Proactively re-uses know-how and/or business sense to accelerate the problem solving</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Leads the total problem solving based on acumed expertise</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Builds a growth platform around a unique (combination of) expertises and/or skills</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8298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Operating model</a:t>
                      </a: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Contributes in the team of setting up an best practice way of working</a:t>
                      </a:r>
                    </a:p>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Takes responsibility and advices client team leaders to shape or improve the way of working in a (sub) team</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ts val="1633"/>
                        </a:lnSpc>
                        <a:spcBef>
                          <a:spcPts val="0"/>
                        </a:spcBef>
                        <a:spcAft>
                          <a:spcPts val="0"/>
                        </a:spcAft>
                        <a:buClrTx/>
                        <a:buSzTx/>
                        <a:buFont typeface="Arial" panose="020B0604020202020204" pitchFamily="34" charset="0"/>
                        <a:buChar char="•"/>
                        <a:tabLst/>
                        <a:defRPr/>
                      </a:pPr>
                      <a:r>
                        <a:rPr lang="en-GB" sz="1000" b="0" i="0" u="none" strike="noStrike" kern="120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Is able to design an operating model for a Data &amp; AI organization</a:t>
                      </a:r>
                      <a:endPar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ctr" latinLnBrk="0" hangingPunct="1">
                        <a:lnSpc>
                          <a:spcPts val="1633"/>
                        </a:lnSpc>
                        <a:spcBef>
                          <a:spcPts val="0"/>
                        </a:spcBef>
                        <a:spcAft>
                          <a:spcPts val="0"/>
                        </a:spcAft>
                        <a:buFont typeface="Arial" panose="020B0604020202020204" pitchFamily="34" charset="0"/>
                        <a:buChar char="•"/>
                      </a:pPr>
                      <a:r>
                        <a:rPr lang="en-GB" sz="1000" b="0" i="0" u="none" strike="noStrike" kern="1200" dirty="0">
                          <a:solidFill>
                            <a:sysClr val="windowText" lastClr="000000"/>
                          </a:solidFill>
                          <a:effectLst/>
                          <a:latin typeface="Arial" panose="020B0604020202020204" pitchFamily="34" charset="0"/>
                          <a:ea typeface="+mn-ea"/>
                          <a:cs typeface="Arial" panose="020B0604020202020204" pitchFamily="34" charset="0"/>
                          <a:sym typeface="Arial" panose="020B0604020202020204" pitchFamily="34" charset="0"/>
                        </a:rPr>
                        <a:t>Shapes the executive discussion on the organizational model and takes client context (incl. politics) into account</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97781874"/>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a:solidFill>
                  <a:schemeClr val="accent1">
                    <a:lumMod val="50000"/>
                  </a:schemeClr>
                </a:solidFill>
                <a:latin typeface="Arial" panose="020B0604020202020204" pitchFamily="34" charset="0"/>
                <a:cs typeface="Arial" panose="020B0604020202020204" pitchFamily="34" charset="0"/>
                <a:sym typeface="Arial" panose="020B0604020202020204" pitchFamily="34" charset="0"/>
              </a:rPr>
              <a:t>Data AI translation|</a:t>
            </a:r>
            <a:r>
              <a:rPr lang="nl-NL" sz="2903" b="0" i="1" dirty="0">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behavioral</a:t>
            </a:r>
            <a:r>
              <a:rPr lang="nl-NL" sz="2903" b="0" i="1" dirty="0">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anchors</a:t>
            </a:r>
            <a:endParaRPr lang="en-US" sz="2903" b="0" i="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961401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3840595657"/>
              </p:ext>
            </p:extLst>
          </p:nvPr>
        </p:nvGraphicFramePr>
        <p:xfrm>
          <a:off x="470845" y="872880"/>
          <a:ext cx="11252195" cy="5913120"/>
        </p:xfrm>
        <a:graphic>
          <a:graphicData uri="http://schemas.openxmlformats.org/drawingml/2006/table">
            <a:tbl>
              <a:tblPr firstRow="1" bandRow="1">
                <a:tableStyleId>{5C22544A-7EE6-4342-B048-85BDC9FD1C3A}</a:tableStyleId>
              </a:tblPr>
              <a:tblGrid>
                <a:gridCol w="2250439">
                  <a:extLst>
                    <a:ext uri="{9D8B030D-6E8A-4147-A177-3AD203B41FA5}">
                      <a16:colId xmlns:a16="http://schemas.microsoft.com/office/drawing/2014/main" val="2010582758"/>
                    </a:ext>
                  </a:extLst>
                </a:gridCol>
                <a:gridCol w="2334810">
                  <a:extLst>
                    <a:ext uri="{9D8B030D-6E8A-4147-A177-3AD203B41FA5}">
                      <a16:colId xmlns:a16="http://schemas.microsoft.com/office/drawing/2014/main" val="3881206508"/>
                    </a:ext>
                  </a:extLst>
                </a:gridCol>
                <a:gridCol w="2166068">
                  <a:extLst>
                    <a:ext uri="{9D8B030D-6E8A-4147-A177-3AD203B41FA5}">
                      <a16:colId xmlns:a16="http://schemas.microsoft.com/office/drawing/2014/main" val="2356519941"/>
                    </a:ext>
                  </a:extLst>
                </a:gridCol>
                <a:gridCol w="2262080">
                  <a:extLst>
                    <a:ext uri="{9D8B030D-6E8A-4147-A177-3AD203B41FA5}">
                      <a16:colId xmlns:a16="http://schemas.microsoft.com/office/drawing/2014/main" val="1209552632"/>
                    </a:ext>
                  </a:extLst>
                </a:gridCol>
                <a:gridCol w="2238798">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1015945"/>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fini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00" b="1" i="0" u="none" strike="noStrike">
                          <a:solidFill>
                            <a:srgbClr val="292929"/>
                          </a:solidFill>
                          <a:effectLst/>
                          <a:latin typeface="Calibri" panose="020F0502020204030204" pitchFamily="34" charset="0"/>
                        </a:rPr>
                        <a:t>Delivers core GAIN training modules based </a:t>
                      </a:r>
                      <a:r>
                        <a:rPr lang="en-GB" sz="1000" b="1" i="0" u="none" strike="noStrike" kern="1200">
                          <a:solidFill>
                            <a:srgbClr val="292929"/>
                          </a:solidFill>
                          <a:effectLst/>
                          <a:latin typeface="Calibri" panose="020F0502020204030204" pitchFamily="34" charset="0"/>
                          <a:ea typeface="+mn-ea"/>
                          <a:cs typeface="+mn-cs"/>
                        </a:rPr>
                        <a:t>on expertise. </a:t>
                      </a:r>
                    </a:p>
                    <a:p>
                      <a:pPr marL="171450" indent="-171450">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Supports in the development of training materials and documentation. </a:t>
                      </a:r>
                    </a:p>
                    <a:p>
                      <a:pPr marL="171450" indent="-171450">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Assists in (Program Management – based on instruction like) organizing and coordinating training logistics.</a:t>
                      </a:r>
                    </a:p>
                    <a:p>
                      <a:pPr marL="171450" indent="-171450">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Only assists instructional design</a:t>
                      </a:r>
                      <a:endParaRPr lang="en-GB" sz="1000" b="1" i="0" u="none" strike="noStrike" kern="1200" dirty="0">
                        <a:solidFill>
                          <a:srgbClr val="292929"/>
                        </a:solidFill>
                        <a:effectLst/>
                        <a:latin typeface="Calibri" panose="020F0502020204030204" pitchFamily="34" charset="0"/>
                        <a:ea typeface="+mn-ea"/>
                        <a:cs typeface="+mn-cs"/>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Designs comprehensive training programs based on defined learning objectives.</a:t>
                      </a:r>
                    </a:p>
                    <a:p>
                      <a:pPr marL="171450" indent="-171450" algn="l" fontAlgn="ctr">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Utilizes advanced pedagogical methods to ensure educational content is impactful, relevant, and accessible. </a:t>
                      </a:r>
                    </a:p>
                    <a:p>
                      <a:pPr marL="171450" indent="-171450" algn="l" fontAlgn="ctr">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Innovates within their expertise domain to update and improve existing training materials or modules.</a:t>
                      </a:r>
                    </a:p>
                    <a:p>
                      <a:pPr marL="171450" indent="-171450" algn="l" fontAlgn="ctr">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Helps with instructional design</a:t>
                      </a:r>
                      <a:endParaRPr lang="en-GB" sz="1000" b="1" i="0" u="none" strike="noStrike" kern="1200" dirty="0">
                        <a:solidFill>
                          <a:srgbClr val="292929"/>
                        </a:solidFill>
                        <a:effectLst/>
                        <a:latin typeface="Calibri" panose="020F0502020204030204" pitchFamily="34" charset="0"/>
                        <a:ea typeface="+mn-ea"/>
                        <a:cs typeface="+mn-cs"/>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Develop Program Objectives based on client intake.</a:t>
                      </a:r>
                    </a:p>
                    <a:p>
                      <a:pPr marL="171450" indent="-171450" algn="l">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Establishes training quality standards and guidelines for consistent delivery.</a:t>
                      </a:r>
                    </a:p>
                    <a:p>
                      <a:pPr marL="171450" indent="-171450" algn="l" fontAlgn="ctr">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Leads instructional design</a:t>
                      </a:r>
                    </a:p>
                    <a:p>
                      <a:pPr marL="171450" indent="-171450" algn="l" fontAlgn="ctr">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Sets standards for educational content quality, instructional design, and technological integration, leveraging insights from industry trends to enhance the educational portfolio.</a:t>
                      </a:r>
                      <a:endParaRPr lang="en-GB" sz="1000" b="1" i="0" u="none" strike="noStrike" kern="1200" dirty="0">
                        <a:solidFill>
                          <a:srgbClr val="292929"/>
                        </a:solidFill>
                        <a:effectLst/>
                        <a:latin typeface="Calibri" panose="020F0502020204030204" pitchFamily="34" charset="0"/>
                        <a:ea typeface="+mn-ea"/>
                        <a:cs typeface="+mn-cs"/>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Develops new program propositions</a:t>
                      </a:r>
                    </a:p>
                    <a:p>
                      <a:pPr marL="171450" indent="-171450" algn="l" fontAlgn="ctr">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Defines overarching training strategies based on industry trends and learner requirements. </a:t>
                      </a:r>
                    </a:p>
                    <a:p>
                      <a:pPr marL="171450" indent="-171450" algn="l" fontAlgn="ctr">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Champions the creation of groundbreaking programs, case studies, and thought leadership materials that enhance the organization's reputation and effectiveness in delivering learning outcomes.</a:t>
                      </a:r>
                    </a:p>
                    <a:p>
                      <a:pPr marL="171450" indent="-171450" algn="l" fontAlgn="ctr">
                        <a:buFont typeface="Arial" panose="020B0604020202020204" pitchFamily="34" charset="0"/>
                        <a:buChar char="•"/>
                      </a:pPr>
                      <a:r>
                        <a:rPr lang="en-GB" sz="1000" b="1" i="0" u="none" strike="noStrike" kern="1200">
                          <a:solidFill>
                            <a:srgbClr val="292929"/>
                          </a:solidFill>
                          <a:effectLst/>
                          <a:latin typeface="Calibri" panose="020F0502020204030204" pitchFamily="34" charset="0"/>
                          <a:ea typeface="+mn-ea"/>
                          <a:cs typeface="+mn-cs"/>
                        </a:rPr>
                        <a:t>Innovates instructional design</a:t>
                      </a:r>
                      <a:endParaRPr lang="en-GB" sz="1000" b="1" i="0" u="none" strike="noStrike" kern="1200" dirty="0">
                        <a:solidFill>
                          <a:srgbClr val="292929"/>
                        </a:solidFill>
                        <a:effectLst/>
                        <a:latin typeface="Calibri" panose="020F0502020204030204" pitchFamily="34" charset="0"/>
                        <a:ea typeface="+mn-ea"/>
                        <a:cs typeface="+mn-cs"/>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386500"/>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idactics: applying teaching principles</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Able to deliver high quality training to non-management audience</a:t>
                      </a:r>
                    </a:p>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TtT hygiene principles</a:t>
                      </a:r>
                    </a:p>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Has TtT &amp; badge certification (for at least 2 badges)</a:t>
                      </a:r>
                    </a:p>
                    <a:p>
                      <a:pPr marL="171450" indent="-171450">
                        <a:buFont typeface="Arial" panose="020B0604020202020204" pitchFamily="34" charset="0"/>
                        <a:buChar char="•"/>
                      </a:pPr>
                      <a:endParaRPr lang="en-GB" sz="1000" b="0" i="0" u="none" strike="noStrike" kern="1200">
                        <a:solidFill>
                          <a:srgbClr val="292929"/>
                        </a:solidFill>
                        <a:effectLst/>
                        <a:latin typeface="Calibri" panose="020F0502020204030204" pitchFamily="34" charset="0"/>
                        <a:ea typeface="+mn-ea"/>
                        <a:cs typeface="+mn-cs"/>
                      </a:endParaRPr>
                    </a:p>
                    <a:p>
                      <a:pPr marL="171450" indent="-171450" algn="l" fontAlgn="ctr">
                        <a:buFont typeface="Arial" panose="020B0604020202020204" pitchFamily="34" charset="0"/>
                        <a:buChar char="•"/>
                      </a:pPr>
                      <a:endParaRPr lang="en-GB" sz="1000" b="0" i="0" u="none" strike="noStrike" kern="1200">
                        <a:solidFill>
                          <a:srgbClr val="292929"/>
                        </a:solidFill>
                        <a:effectLst/>
                        <a:latin typeface="Calibri" panose="020F0502020204030204" pitchFamily="34" charset="0"/>
                        <a:ea typeface="+mn-ea"/>
                        <a:cs typeface="+mn-cs"/>
                      </a:endParaRPr>
                    </a:p>
                    <a:p>
                      <a:pPr marL="171450" indent="-171450" algn="l" fontAlgn="ctr">
                        <a:buFont typeface="Arial" panose="020B0604020202020204" pitchFamily="34" charset="0"/>
                        <a:buChar char="•"/>
                      </a:pPr>
                      <a:r>
                        <a:rPr lang="en-GB" sz="1000" b="0" i="1" u="none" strike="noStrike" kern="1200">
                          <a:solidFill>
                            <a:srgbClr val="292929"/>
                          </a:solidFill>
                          <a:effectLst/>
                          <a:latin typeface="Calibri" panose="020F0502020204030204" pitchFamily="34" charset="0"/>
                          <a:ea typeface="+mn-ea"/>
                          <a:cs typeface="+mn-cs"/>
                        </a:rPr>
                        <a:t>E.g. Implements interactive teaching techniques to engage learners.</a:t>
                      </a:r>
                    </a:p>
                    <a:p>
                      <a:pPr marL="171450" indent="-171450" algn="l" defTabSz="914355" rtl="0" eaLnBrk="1" fontAlgn="ctr" latinLnBrk="0" hangingPunct="1">
                        <a:buFont typeface="Arial" panose="020B0604020202020204" pitchFamily="34" charset="0"/>
                        <a:buChar char="•"/>
                      </a:pPr>
                      <a:r>
                        <a:rPr lang="en-GB" sz="1000" b="0" i="1" u="none" strike="noStrike" kern="1200">
                          <a:solidFill>
                            <a:srgbClr val="292929"/>
                          </a:solidFill>
                          <a:effectLst/>
                          <a:latin typeface="Calibri" panose="020F0502020204030204" pitchFamily="34" charset="0"/>
                          <a:ea typeface="+mn-ea"/>
                          <a:cs typeface="+mn-cs"/>
                        </a:rPr>
                        <a:t>E.g. Facilitates discussions and learning activities, ensuring content is accessible and understandable. </a:t>
                      </a:r>
                    </a:p>
                    <a:p>
                      <a:pPr marL="171450" indent="-171450" algn="l" defTabSz="914355" rtl="0" eaLnBrk="1" fontAlgn="ctr" latinLnBrk="0" hangingPunct="1">
                        <a:buFont typeface="Arial" panose="020B0604020202020204" pitchFamily="34" charset="0"/>
                        <a:buChar char="•"/>
                      </a:pPr>
                      <a:endParaRPr lang="en-GB" sz="1000" b="0" i="1" u="none" strike="noStrike" kern="1200">
                        <a:solidFill>
                          <a:srgbClr val="292929"/>
                        </a:solidFill>
                        <a:effectLst/>
                        <a:latin typeface="Calibri" panose="020F0502020204030204" pitchFamily="34" charset="0"/>
                        <a:ea typeface="+mn-ea"/>
                        <a:cs typeface="+mn-cs"/>
                      </a:endParaRP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a:solidFill>
                            <a:schemeClr val="bg1">
                              <a:lumMod val="50000"/>
                            </a:schemeClr>
                          </a:solidFill>
                          <a:effectLst/>
                          <a:latin typeface="Calibri" panose="020F0502020204030204" pitchFamily="34" charset="0"/>
                        </a:rPr>
                        <a:t>AA/ Tech: Is able to deliver 2-star badges within own 'expertise' domain and badge owner of a 2-star badge</a:t>
                      </a:r>
                      <a:endParaRPr lang="en-GB" sz="1000" b="0" i="0" u="none" strike="noStrike" kern="1200" dirty="0">
                        <a:solidFill>
                          <a:schemeClr val="bg1">
                            <a:lumMod val="50000"/>
                          </a:schemeClr>
                        </a:solidFill>
                        <a:effectLst/>
                        <a:latin typeface="Calibri" panose="020F0502020204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rgbClr val="292929"/>
                          </a:solidFill>
                          <a:effectLst/>
                          <a:latin typeface="Calibri" panose="020F0502020204030204" pitchFamily="34" charset="0"/>
                        </a:rPr>
                        <a:t>Is the lead of at least 1 GAIn badge within the own 'expertise' domain, and innovates with new concepts and content within this badge</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rgbClr val="292929"/>
                          </a:solidFill>
                          <a:effectLst/>
                          <a:latin typeface="Calibri" panose="020F0502020204030204" pitchFamily="34" charset="0"/>
                          <a:ea typeface="+mn-ea"/>
                          <a:cs typeface="+mn-cs"/>
                        </a:rPr>
                        <a:t>Ensures alignment of instructional strategies with learning objectives.</a:t>
                      </a:r>
                    </a:p>
                    <a:p>
                      <a:pPr marL="171450" indent="-171450" algn="l" fontAlgn="ctr">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Mentors junior educators in pedagogical strategies and content delivery.</a:t>
                      </a:r>
                    </a:p>
                    <a:p>
                      <a:pPr marL="171450" indent="-171450" algn="l" fontAlgn="ctr">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Manages and adjusts program/ training to address group dynamic challenges and opportunities</a:t>
                      </a:r>
                    </a:p>
                    <a:p>
                      <a:pPr marL="171450" indent="-171450" algn="l" fontAlgn="ctr">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Enriching / deepens modules from project experience</a:t>
                      </a:r>
                    </a:p>
                    <a:p>
                      <a:pPr marL="171450" indent="-171450" algn="l" fontAlgn="ctr">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Able to do be an examiner for TtT</a:t>
                      </a:r>
                      <a:br>
                        <a:rPr lang="en-GB" sz="1000" b="0" i="0" u="none" strike="noStrike" kern="1200">
                          <a:solidFill>
                            <a:srgbClr val="292929"/>
                          </a:solidFill>
                          <a:effectLst/>
                          <a:latin typeface="Calibri" panose="020F0502020204030204" pitchFamily="34" charset="0"/>
                          <a:ea typeface="+mn-ea"/>
                          <a:cs typeface="+mn-cs"/>
                        </a:rPr>
                      </a:br>
                      <a:endParaRPr lang="en-GB" sz="1000" b="0" i="0" u="none" strike="noStrike" kern="1200">
                        <a:solidFill>
                          <a:srgbClr val="292929"/>
                        </a:solidFill>
                        <a:effectLst/>
                        <a:latin typeface="Calibri" panose="020F0502020204030204" pitchFamily="34" charset="0"/>
                        <a:ea typeface="+mn-ea"/>
                        <a:cs typeface="+mn-cs"/>
                      </a:endParaRP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a:solidFill>
                            <a:schemeClr val="bg1">
                              <a:lumMod val="50000"/>
                            </a:schemeClr>
                          </a:solidFill>
                          <a:effectLst/>
                          <a:latin typeface="Calibri" panose="020F0502020204030204" pitchFamily="34" charset="0"/>
                        </a:rPr>
                        <a:t>AA/ Tech : Transfers project experience and expertise to colleagues, HoM, and into (improving) GAIn badges (high order message?)</a:t>
                      </a:r>
                      <a:endParaRPr lang="en-GB" sz="1000" b="0" i="0" u="none" strike="noStrike" dirty="0">
                        <a:solidFill>
                          <a:schemeClr val="bg1">
                            <a:lumMod val="50000"/>
                          </a:schemeClr>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Oversees the Rewire’s teaching quality standards, ensuring consistency and impact across programs.</a:t>
                      </a:r>
                    </a:p>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Develops and implements professional development programs for educators within the organization – designs/ manages TtT</a:t>
                      </a:r>
                    </a:p>
                    <a:p>
                      <a:pPr marL="171450" indent="-171450">
                        <a:buFont typeface="Arial" panose="020B0604020202020204" pitchFamily="34" charset="0"/>
                        <a:buChar char="•"/>
                      </a:pPr>
                      <a:endParaRPr lang="en-GB" sz="1000" b="0" i="0" u="none" strike="noStrike" kern="1200" dirty="0">
                        <a:solidFill>
                          <a:srgbClr val="292929"/>
                        </a:solidFill>
                        <a:effectLst/>
                        <a:latin typeface="Calibri" panose="020F050202020403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Creates exciting case stories, PR and GAIn modules on own topic of expertise</a:t>
                      </a:r>
                    </a:p>
                    <a:p>
                      <a:pPr marL="171450" indent="-825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Creates a strong proposition on GAIN service line (in own expertise) as basis for client discussions and PR</a:t>
                      </a:r>
                    </a:p>
                    <a:p>
                      <a:pPr marL="171450" indent="-825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Has specific GAIN expertise that is acknowledged internally and externally (sparring partner for clients)</a:t>
                      </a:r>
                    </a:p>
                    <a:p>
                      <a:pPr marL="171450" marR="0" lvl="0" indent="-825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rives innovation in instructional methods based on educational trends.</a:t>
                      </a:r>
                    </a:p>
                    <a:p>
                      <a:pPr marL="171450" indent="-82550">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ets the strategic direction for pedagogical innovation, influencing both internal practices and the broader educational community.</a:t>
                      </a:r>
                    </a:p>
                    <a:p>
                      <a:pPr marL="171450" indent="-82550">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Evaluates and champions the adoption of ground-breaking educational theories and practices.</a:t>
                      </a:r>
                    </a:p>
                    <a:p>
                      <a:pPr marL="171450" marR="0" lvl="0" indent="-825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171450" indent="-171450" algn="l" fontAlgn="ctr">
                        <a:buFont typeface="Arial" panose="020B0604020202020204" pitchFamily="34" charset="0"/>
                        <a:buChar char="•"/>
                      </a:pP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err="1">
                <a:solidFill>
                  <a:schemeClr val="accent1">
                    <a:lumMod val="50000"/>
                  </a:schemeClr>
                </a:solidFill>
              </a:rPr>
              <a:t>DAIdactics</a:t>
            </a:r>
            <a:r>
              <a:rPr lang="en-US" sz="2903" dirty="0">
                <a:solidFill>
                  <a:schemeClr val="accent1">
                    <a:lumMod val="50000"/>
                  </a:schemeClr>
                </a:solidFill>
              </a:rPr>
              <a:t>|</a:t>
            </a:r>
            <a:r>
              <a:rPr lang="nl-NL" sz="2903" b="0" i="1" dirty="0">
                <a:solidFill>
                  <a:schemeClr val="tx1"/>
                </a:solidFill>
                <a:ea typeface="Roboto Light" panose="02000000000000000000" pitchFamily="2" charset="0"/>
              </a:rPr>
              <a:t> </a:t>
            </a:r>
            <a:r>
              <a:rPr lang="nl-NL" sz="2903" b="0" i="1" dirty="0" err="1">
                <a:solidFill>
                  <a:schemeClr val="tx1"/>
                </a:solidFill>
                <a:ea typeface="Roboto Light" panose="02000000000000000000" pitchFamily="2" charset="0"/>
              </a:rPr>
              <a:t>behavioral</a:t>
            </a:r>
            <a:r>
              <a:rPr lang="nl-NL" sz="2903" b="0" i="1" dirty="0">
                <a:solidFill>
                  <a:schemeClr val="tx1"/>
                </a:solidFill>
                <a:ea typeface="Roboto Light" panose="02000000000000000000" pitchFamily="2" charset="0"/>
              </a:rPr>
              <a:t> </a:t>
            </a:r>
            <a:r>
              <a:rPr lang="nl-NL" sz="2903" b="0" i="1" dirty="0" err="1">
                <a:solidFill>
                  <a:schemeClr val="tx1"/>
                </a:solidFill>
                <a:ea typeface="Roboto Light" panose="02000000000000000000" pitchFamily="2" charset="0"/>
              </a:rPr>
              <a:t>anchors</a:t>
            </a:r>
            <a:r>
              <a:rPr lang="nl-NL" sz="2903" b="0" i="1" dirty="0">
                <a:solidFill>
                  <a:schemeClr val="tx1"/>
                </a:solidFill>
                <a:ea typeface="Roboto Light" panose="02000000000000000000" pitchFamily="2" charset="0"/>
              </a:rPr>
              <a:t> (1/2)</a:t>
            </a:r>
            <a:endParaRPr lang="en-US" sz="2903" b="0" i="1" dirty="0">
              <a:solidFill>
                <a:schemeClr val="accent4"/>
              </a:solidFill>
            </a:endParaRPr>
          </a:p>
        </p:txBody>
      </p:sp>
    </p:spTree>
    <p:extLst>
      <p:ext uri="{BB962C8B-B14F-4D97-AF65-F5344CB8AC3E}">
        <p14:creationId xmlns:p14="http://schemas.microsoft.com/office/powerpoint/2010/main" val="25255400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2472140659"/>
              </p:ext>
            </p:extLst>
          </p:nvPr>
        </p:nvGraphicFramePr>
        <p:xfrm>
          <a:off x="470845" y="592610"/>
          <a:ext cx="11252195" cy="6137520"/>
        </p:xfrm>
        <a:graphic>
          <a:graphicData uri="http://schemas.openxmlformats.org/drawingml/2006/table">
            <a:tbl>
              <a:tblPr firstRow="1" bandRow="1">
                <a:tableStyleId>{5C22544A-7EE6-4342-B048-85BDC9FD1C3A}</a:tableStyleId>
              </a:tblPr>
              <a:tblGrid>
                <a:gridCol w="2250439">
                  <a:extLst>
                    <a:ext uri="{9D8B030D-6E8A-4147-A177-3AD203B41FA5}">
                      <a16:colId xmlns:a16="http://schemas.microsoft.com/office/drawing/2014/main" val="2010582758"/>
                    </a:ext>
                  </a:extLst>
                </a:gridCol>
                <a:gridCol w="2334810">
                  <a:extLst>
                    <a:ext uri="{9D8B030D-6E8A-4147-A177-3AD203B41FA5}">
                      <a16:colId xmlns:a16="http://schemas.microsoft.com/office/drawing/2014/main" val="3881206508"/>
                    </a:ext>
                  </a:extLst>
                </a:gridCol>
                <a:gridCol w="2166068">
                  <a:extLst>
                    <a:ext uri="{9D8B030D-6E8A-4147-A177-3AD203B41FA5}">
                      <a16:colId xmlns:a16="http://schemas.microsoft.com/office/drawing/2014/main" val="2356519941"/>
                    </a:ext>
                  </a:extLst>
                </a:gridCol>
                <a:gridCol w="2262080">
                  <a:extLst>
                    <a:ext uri="{9D8B030D-6E8A-4147-A177-3AD203B41FA5}">
                      <a16:colId xmlns:a16="http://schemas.microsoft.com/office/drawing/2014/main" val="1209552632"/>
                    </a:ext>
                  </a:extLst>
                </a:gridCol>
                <a:gridCol w="2238798">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1015945"/>
                  </a:ext>
                </a:extLst>
              </a:tr>
              <a:tr h="102567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structional design </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Assists in basic instructional design tasks under supervision.</a:t>
                      </a:r>
                    </a:p>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Participates in storyboarding and content sequencing activities.</a:t>
                      </a:r>
                    </a:p>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Helps in collecting learning needs from SME to ensure content accuracy and relevance.</a:t>
                      </a:r>
                    </a:p>
                    <a:p>
                      <a:pPr marL="171450" indent="-171450">
                        <a:buFont typeface="Arial" panose="020B0604020202020204" pitchFamily="34" charset="0"/>
                        <a:buChar char="•"/>
                      </a:pPr>
                      <a:endParaRPr lang="en-GB" sz="1000" b="0" i="0" u="none" strike="noStrike" kern="1200">
                        <a:solidFill>
                          <a:srgbClr val="292929"/>
                        </a:solidFill>
                        <a:effectLst/>
                        <a:latin typeface="Calibri" panose="020F0502020204030204" pitchFamily="34" charset="0"/>
                        <a:ea typeface="+mn-ea"/>
                        <a:cs typeface="+mn-cs"/>
                      </a:endParaRPr>
                    </a:p>
                    <a:p>
                      <a:br>
                        <a:rPr lang="en-GB" sz="1000"/>
                      </a:br>
                      <a:endParaRPr lang="en-GB" sz="1000" b="0" i="0" u="none" strike="noStrike" dirty="0">
                        <a:solidFill>
                          <a:srgbClr val="292929"/>
                        </a:solidFill>
                        <a:effectLst/>
                        <a:latin typeface="Calibri" panose="020F050202020403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Integrates assessment tools and feedback mechanisms to measure and enhance learner engagement and achievement.</a:t>
                      </a:r>
                      <a:br>
                        <a:rPr lang="en-GB" sz="1000" b="0" i="0" u="none" strike="noStrike" kern="1200">
                          <a:solidFill>
                            <a:srgbClr val="292929"/>
                          </a:solidFill>
                          <a:effectLst/>
                          <a:latin typeface="Calibri" panose="020F0502020204030204" pitchFamily="34" charset="0"/>
                          <a:ea typeface="+mn-ea"/>
                          <a:cs typeface="+mn-cs"/>
                        </a:rPr>
                      </a:br>
                      <a:endParaRPr lang="en-GB" sz="1000" b="0" i="0" u="none" strike="noStrike" kern="1200">
                        <a:solidFill>
                          <a:srgbClr val="292929"/>
                        </a:solidFill>
                        <a:effectLst/>
                        <a:latin typeface="Calibri" panose="020F0502020204030204" pitchFamily="34" charset="0"/>
                        <a:ea typeface="+mn-ea"/>
                        <a:cs typeface="+mn-cs"/>
                      </a:endParaRPr>
                    </a:p>
                    <a:p>
                      <a:pPr marL="171450" indent="-171450" algn="l" fontAlgn="ctr">
                        <a:buFont typeface="Arial" panose="020B0604020202020204" pitchFamily="34" charset="0"/>
                        <a:buChar char="•"/>
                      </a:pPr>
                      <a:r>
                        <a:rPr lang="en-GB" sz="1000" b="0" i="0" u="none" strike="noStrike" kern="1200">
                          <a:solidFill>
                            <a:schemeClr val="bg1">
                              <a:lumMod val="50000"/>
                            </a:schemeClr>
                          </a:solidFill>
                          <a:effectLst/>
                          <a:latin typeface="Calibri" panose="020F0502020204030204" pitchFamily="34" charset="0"/>
                          <a:ea typeface="+mn-ea"/>
                          <a:cs typeface="+mn-cs"/>
                        </a:rPr>
                        <a:t>AA: </a:t>
                      </a:r>
                      <a:r>
                        <a:rPr lang="en-GB" sz="1000" b="0" i="0" u="none" strike="noStrike">
                          <a:solidFill>
                            <a:schemeClr val="bg1">
                              <a:lumMod val="50000"/>
                            </a:schemeClr>
                          </a:solidFill>
                          <a:effectLst/>
                          <a:latin typeface="Calibri" panose="020F0502020204030204" pitchFamily="34" charset="0"/>
                        </a:rPr>
                        <a:t>Contributes to one of the AA fields of expertise and is able to </a:t>
                      </a:r>
                      <a:r>
                        <a:rPr lang="en-GB" sz="1000" b="0" i="0" u="none" strike="noStrike" kern="1200">
                          <a:solidFill>
                            <a:schemeClr val="bg1">
                              <a:lumMod val="50000"/>
                            </a:schemeClr>
                          </a:solidFill>
                          <a:effectLst/>
                          <a:latin typeface="Calibri" panose="020F0502020204030204" pitchFamily="34" charset="0"/>
                          <a:ea typeface="+mn-ea"/>
                          <a:cs typeface="+mn-cs"/>
                        </a:rPr>
                        <a:t>translate complex project experiences into compelling learning modules</a:t>
                      </a:r>
                      <a:endParaRPr lang="en-GB" sz="1000" b="0" i="0" u="none" strike="noStrike" kern="1200" dirty="0">
                        <a:solidFill>
                          <a:schemeClr val="bg1">
                            <a:lumMod val="50000"/>
                          </a:schemeClr>
                        </a:solidFill>
                        <a:effectLst/>
                        <a:latin typeface="Calibri" panose="020F0502020204030204" pitchFamily="34" charset="0"/>
                        <a:ea typeface="+mn-ea"/>
                        <a:cs typeface="+mn-cs"/>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rgbClr val="292929"/>
                          </a:solidFill>
                          <a:effectLst/>
                          <a:latin typeface="Calibri" panose="020F0502020204030204" pitchFamily="34" charset="0"/>
                          <a:ea typeface="+mn-ea"/>
                          <a:cs typeface="+mn-cs"/>
                        </a:rPr>
                        <a:t>Creates engaging and pedagogically sound educational experiences.</a:t>
                      </a:r>
                    </a:p>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Sets standards for instructional quality and effectiveness across all learning programs.</a:t>
                      </a:r>
                    </a:p>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 Evaluates and adapts educational offerings in response to changing market trends and organizational needs.</a:t>
                      </a:r>
                      <a:endParaRPr lang="en-GB" sz="1000" b="0" i="0" u="none" strike="noStrike" kern="1200" dirty="0">
                        <a:solidFill>
                          <a:srgbClr val="292929"/>
                        </a:solidFill>
                        <a:effectLst/>
                        <a:latin typeface="Calibri" panose="020F0502020204030204" pitchFamily="34" charset="0"/>
                        <a:ea typeface="+mn-ea"/>
                        <a:cs typeface="+mn-cs"/>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NA</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33473551"/>
                  </a:ext>
                </a:extLst>
              </a:tr>
              <a:tr h="102567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Training developmen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Contributes to the creation and revision of training materials based on established guidelines.</a:t>
                      </a:r>
                    </a:p>
                    <a:p>
                      <a:pPr marL="171450" indent="-171450" algn="l" defTabSz="914355" rtl="0" eaLnBrk="1" latinLnBrk="0" hangingPunct="1">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Assists in the research and development of educational content and review processes.</a:t>
                      </a:r>
                    </a:p>
                    <a:p>
                      <a:pPr marL="171450" indent="-171450" algn="l" defTabSz="914355" rtl="0" eaLnBrk="1" latinLnBrk="0" hangingPunct="1">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Contributes to the maintenance and update of course materials.</a:t>
                      </a:r>
                      <a:endParaRPr lang="en-GB" sz="1000" b="0" i="0" u="none" strike="noStrike" kern="1200" dirty="0">
                        <a:solidFill>
                          <a:srgbClr val="292929"/>
                        </a:solidFill>
                        <a:effectLst/>
                        <a:latin typeface="Calibri" panose="020F0502020204030204" pitchFamily="34" charset="0"/>
                        <a:ea typeface="+mn-ea"/>
                        <a:cs typeface="+mn-cs"/>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Creating of engaging and impactful educational materials.</a:t>
                      </a:r>
                    </a:p>
                    <a:p>
                      <a:pPr marL="171450" indent="-171450" algn="l" fontAlgn="ctr">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Manages and innovates training development projects, ensuring materials are comprehensive, engaging, and aligned with learning objectives.</a:t>
                      </a:r>
                    </a:p>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rgbClr val="292929"/>
                          </a:solidFill>
                          <a:effectLst/>
                          <a:latin typeface="Calibri" panose="020F0502020204030204" pitchFamily="34" charset="0"/>
                          <a:ea typeface="+mn-ea"/>
                          <a:cs typeface="+mn-cs"/>
                        </a:rPr>
                        <a:t>Ensures scalability and adaptability of training materials.</a:t>
                      </a:r>
                      <a:endParaRPr lang="en-GB" sz="1000" b="0" i="0" u="none" strike="noStrike" kern="1200" dirty="0">
                        <a:solidFill>
                          <a:srgbClr val="292929"/>
                        </a:solidFill>
                        <a:effectLst/>
                        <a:latin typeface="Calibri" panose="020F0502020204030204" pitchFamily="34" charset="0"/>
                        <a:ea typeface="+mn-ea"/>
                        <a:cs typeface="+mn-cs"/>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Manages the lifecycle of educational content from conception through retirement.</a:t>
                      </a:r>
                    </a:p>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Ensures content development aligns with learning objectives</a:t>
                      </a:r>
                    </a:p>
                    <a:p>
                      <a:pPr marL="171450" indent="-171450">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Leverages analytics and user feedback to inform content revision and development strategies.</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chemeClr val="bg1">
                              <a:lumMod val="50000"/>
                            </a:schemeClr>
                          </a:solidFill>
                          <a:effectLst/>
                          <a:latin typeface="Calibri" panose="020F0502020204030204" pitchFamily="34" charset="0"/>
                          <a:ea typeface="+mn-ea"/>
                          <a:cs typeface="+mn-cs"/>
                        </a:rPr>
                        <a:t>AA/ Tech: </a:t>
                      </a:r>
                      <a:r>
                        <a:rPr lang="en-GB" sz="1000" b="0" i="0" u="none" strike="noStrike">
                          <a:solidFill>
                            <a:schemeClr val="bg1">
                              <a:lumMod val="50000"/>
                            </a:schemeClr>
                          </a:solidFill>
                          <a:effectLst/>
                          <a:latin typeface="Calibri" panose="020F0502020204030204" pitchFamily="34" charset="0"/>
                        </a:rPr>
                        <a:t>Creates exciting case stories, PR and GAIn modules on own topic of expertise</a:t>
                      </a:r>
                      <a:endParaRPr lang="en-GB" sz="1000" b="0" i="0" u="none" strike="noStrike" dirty="0">
                        <a:solidFill>
                          <a:schemeClr val="bg1">
                            <a:lumMod val="50000"/>
                          </a:schemeClr>
                        </a:solidFill>
                        <a:effectLst/>
                        <a:latin typeface="Calibri" panose="020F050202020403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rives the strategic direction for content innovation, exploring new formats and channels for delivery.</a:t>
                      </a:r>
                    </a:p>
                    <a:p>
                      <a:pPr marL="88900" indent="-88900">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ultivates a culture of excellence in content creation, encouraging creativity and rigor.</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135216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ducational program desig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lgn="l" defTabSz="1219170" rtl="0" eaLnBrk="1" fontAlgn="t" latinLnBrk="0" hangingPunct="1">
                        <a:lnSpc>
                          <a:spcPct val="100000"/>
                        </a:lnSpc>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NA</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Alignment, tailoring and case development of linked existing badges to create a comprehensive program based on established program design.</a:t>
                      </a:r>
                    </a:p>
                    <a:p>
                      <a:pPr marL="171450" indent="-171450" algn="l" rtl="0" fontAlgn="t">
                        <a:lnSpc>
                          <a:spcPct val="100000"/>
                        </a:lnSpc>
                        <a:spcAft>
                          <a:spcPts val="600"/>
                        </a:spcAft>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Integrates innovative educational strategies and technologies to enhance program effectiveness in collaboration with PM.</a:t>
                      </a:r>
                    </a:p>
                    <a:p>
                      <a:pPr marL="171450" indent="-171450" algn="l" rtl="0" fontAlgn="t">
                        <a:lnSpc>
                          <a:spcPct val="100000"/>
                        </a:lnSpc>
                        <a:spcAft>
                          <a:spcPts val="600"/>
                        </a:spcAft>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Synthesizes information from industry experts and stakeholders to ensure program relevance and real-world application.</a:t>
                      </a:r>
                      <a:endParaRPr lang="en-US" sz="1000" b="0" i="0" u="none" strike="noStrike" kern="1200" dirty="0">
                        <a:solidFill>
                          <a:srgbClr val="292929"/>
                        </a:solidFill>
                        <a:effectLst/>
                        <a:latin typeface="Calibri" panose="020F0502020204030204" pitchFamily="34" charset="0"/>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a:solidFill>
                            <a:srgbClr val="292929"/>
                          </a:solidFill>
                          <a:effectLst/>
                          <a:latin typeface="Calibri" panose="020F0502020204030204" pitchFamily="34" charset="0"/>
                          <a:ea typeface="+mn-ea"/>
                          <a:cs typeface="+mn-cs"/>
                        </a:rPr>
                        <a:t>Creates Program based on client intakes in collaboration with a Partner</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a:solidFill>
                            <a:srgbClr val="292929"/>
                          </a:solidFill>
                          <a:effectLst/>
                          <a:latin typeface="Calibri" panose="020F0502020204030204" pitchFamily="34" charset="0"/>
                          <a:ea typeface="+mn-ea"/>
                          <a:cs typeface="+mn-cs"/>
                        </a:rPr>
                        <a:t>Oversees the development and delivery of a portfolio of educational programs, ensuring they meet the learning objectives &amp;outcomes.</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a:solidFill>
                            <a:srgbClr val="292929"/>
                          </a:solidFill>
                          <a:effectLst/>
                          <a:latin typeface="Calibri" panose="020F0502020204030204" pitchFamily="34" charset="0"/>
                          <a:ea typeface="+mn-ea"/>
                          <a:cs typeface="+mn-cs"/>
                        </a:rPr>
                        <a:t>stablishes standards for program scalability and impact assessment.</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a:solidFill>
                            <a:srgbClr val="292929"/>
                          </a:solidFill>
                          <a:effectLst/>
                          <a:latin typeface="Calibri" panose="020F0502020204030204" pitchFamily="34" charset="0"/>
                          <a:ea typeface="+mn-ea"/>
                          <a:cs typeface="+mn-cs"/>
                        </a:rPr>
                        <a:t>Has a specific GAIN expertise that is acknowledged internally </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a:solidFill>
                            <a:schemeClr val="bg1">
                              <a:lumMod val="50000"/>
                            </a:schemeClr>
                          </a:solidFill>
                          <a:effectLst/>
                          <a:latin typeface="Calibri" panose="020F0502020204030204" pitchFamily="34" charset="0"/>
                        </a:rPr>
                        <a:t>AA: Steers development of ML&amp;S badges within GAIn around innovation, new badges, make-overs</a:t>
                      </a:r>
                      <a:endParaRPr lang="en-GB" sz="1000" b="0" i="0" u="none" strike="noStrike" dirty="0">
                        <a:solidFill>
                          <a:schemeClr val="bg1">
                            <a:lumMod val="50000"/>
                          </a:schemeClr>
                        </a:solidFill>
                        <a:effectLst/>
                        <a:latin typeface="Calibri" panose="020F050202020403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GB" sz="1000" b="0" i="0" u="none" strike="noStrike" kern="1200">
                          <a:solidFill>
                            <a:srgbClr val="292929"/>
                          </a:solidFill>
                          <a:effectLst/>
                          <a:latin typeface="Calibri" panose="020F0502020204030204" pitchFamily="34" charset="0"/>
                          <a:ea typeface="+mn-ea"/>
                          <a:cs typeface="+mn-cs"/>
                        </a:rPr>
                        <a:t>Leads organizational transformation initiatives that reimagine educational delivery.</a:t>
                      </a:r>
                    </a:p>
                    <a:p>
                      <a:pPr marL="171450" marR="0" lvl="0" indent="-171450" algn="l" defTabSz="91435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a:solidFill>
                            <a:srgbClr val="292929"/>
                          </a:solidFill>
                          <a:effectLst/>
                          <a:latin typeface="Calibri" panose="020F0502020204030204" pitchFamily="34" charset="0"/>
                          <a:ea typeface="+mn-ea"/>
                          <a:cs typeface="+mn-cs"/>
                        </a:rPr>
                        <a:t>Establishes partnerships and collaborations to expand educational offerings.</a:t>
                      </a:r>
                    </a:p>
                    <a:p>
                      <a:pPr marL="171450" indent="-171450" algn="l" fontAlgn="ctr">
                        <a:buFont typeface="Arial" panose="020B0604020202020204" pitchFamily="34" charset="0"/>
                        <a:buChar char="•"/>
                      </a:pPr>
                      <a:r>
                        <a:rPr lang="en-GB" sz="1000" b="0" i="0" u="none" strike="noStrike">
                          <a:solidFill>
                            <a:srgbClr val="292929"/>
                          </a:solidFill>
                          <a:effectLst/>
                          <a:latin typeface="Calibri" panose="020F0502020204030204" pitchFamily="34" charset="0"/>
                        </a:rPr>
                        <a:t>Creates a strong proposition on GAIN service line (in own expertise) as basis for client discussions and PR</a:t>
                      </a:r>
                    </a:p>
                    <a:p>
                      <a:pPr marL="171450" indent="-171450" algn="l" fontAlgn="ctr">
                        <a:buFont typeface="Arial" panose="020B0604020202020204" pitchFamily="34" charset="0"/>
                        <a:buChar char="•"/>
                      </a:pPr>
                      <a:r>
                        <a:rPr lang="en-GB" sz="1000" b="0" i="0" u="none" strike="noStrike">
                          <a:solidFill>
                            <a:srgbClr val="292929"/>
                          </a:solidFill>
                          <a:effectLst/>
                          <a:latin typeface="Calibri" panose="020F0502020204030204" pitchFamily="34" charset="0"/>
                        </a:rPr>
                        <a:t>Has specific GAIN expertise that is acknowledged internally and externally (sparring partner for clients)</a:t>
                      </a:r>
                      <a:r>
                        <a:rPr lang="en-GB" sz="1000" b="0" i="0" u="none" strike="noStrike" kern="1200">
                          <a:solidFill>
                            <a:srgbClr val="292929"/>
                          </a:solidFill>
                          <a:effectLst/>
                          <a:latin typeface="Calibri" panose="020F0502020204030204" pitchFamily="34" charset="0"/>
                          <a:ea typeface="+mn-ea"/>
                          <a:cs typeface="+mn-cs"/>
                        </a:rPr>
                        <a:t> </a:t>
                      </a:r>
                      <a:endParaRPr lang="en-GB" sz="1000" b="0" i="0" u="none" strike="noStrike" kern="1200" dirty="0">
                        <a:solidFill>
                          <a:srgbClr val="292929"/>
                        </a:solidFill>
                        <a:effectLst/>
                        <a:latin typeface="Calibri" panose="020F0502020204030204" pitchFamily="34" charset="0"/>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3096074"/>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err="1">
                <a:solidFill>
                  <a:schemeClr val="accent1">
                    <a:lumMod val="50000"/>
                  </a:schemeClr>
                </a:solidFill>
                <a:latin typeface="Arial" panose="020B0604020202020204" pitchFamily="34" charset="0"/>
                <a:cs typeface="Arial" panose="020B0604020202020204" pitchFamily="34" charset="0"/>
              </a:rPr>
              <a:t>DAIdactics</a:t>
            </a:r>
            <a:r>
              <a:rPr lang="en-US" sz="2903" dirty="0">
                <a:solidFill>
                  <a:schemeClr val="accent1">
                    <a:lumMod val="50000"/>
                  </a:schemeClr>
                </a:solidFill>
                <a:latin typeface="Arial" panose="020B0604020202020204" pitchFamily="34" charset="0"/>
                <a:cs typeface="Arial" panose="020B0604020202020204" pitchFamily="34" charset="0"/>
              </a:rPr>
              <a:t>|</a:t>
            </a:r>
            <a:r>
              <a:rPr lang="nl-NL" sz="2903" b="0" i="1"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rPr>
              <a:t>behavioral</a:t>
            </a:r>
            <a:r>
              <a:rPr lang="nl-NL" sz="2903" b="0" i="1"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rPr>
              <a:t>anchors</a:t>
            </a:r>
            <a:r>
              <a:rPr lang="nl-NL" sz="2903" b="0" i="1" dirty="0">
                <a:solidFill>
                  <a:schemeClr val="tx1"/>
                </a:solidFill>
                <a:latin typeface="Arial" panose="020B0604020202020204" pitchFamily="34" charset="0"/>
                <a:ea typeface="Roboto Light" panose="02000000000000000000" pitchFamily="2" charset="0"/>
                <a:cs typeface="Arial" panose="020B0604020202020204" pitchFamily="34" charset="0"/>
              </a:rPr>
              <a:t> (2/2)</a:t>
            </a:r>
            <a:endParaRPr lang="en-US" sz="2903" b="0" i="1" dirty="0">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1818402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2776053383"/>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2505556460"/>
              </p:ext>
            </p:extLst>
          </p:nvPr>
        </p:nvGraphicFramePr>
        <p:xfrm>
          <a:off x="470844" y="614490"/>
          <a:ext cx="11252195" cy="6726120"/>
        </p:xfrm>
        <a:graphic>
          <a:graphicData uri="http://schemas.openxmlformats.org/drawingml/2006/table">
            <a:tbl>
              <a:tblPr firstRow="1" bandRow="1">
                <a:tableStyleId>{5C22544A-7EE6-4342-B048-85BDC9FD1C3A}</a:tableStyleId>
              </a:tblPr>
              <a:tblGrid>
                <a:gridCol w="2250439">
                  <a:extLst>
                    <a:ext uri="{9D8B030D-6E8A-4147-A177-3AD203B41FA5}">
                      <a16:colId xmlns:a16="http://schemas.microsoft.com/office/drawing/2014/main" val="2010582758"/>
                    </a:ext>
                  </a:extLst>
                </a:gridCol>
                <a:gridCol w="2250439">
                  <a:extLst>
                    <a:ext uri="{9D8B030D-6E8A-4147-A177-3AD203B41FA5}">
                      <a16:colId xmlns:a16="http://schemas.microsoft.com/office/drawing/2014/main" val="3881206508"/>
                    </a:ext>
                  </a:extLst>
                </a:gridCol>
                <a:gridCol w="2250439">
                  <a:extLst>
                    <a:ext uri="{9D8B030D-6E8A-4147-A177-3AD203B41FA5}">
                      <a16:colId xmlns:a16="http://schemas.microsoft.com/office/drawing/2014/main" val="2356519941"/>
                    </a:ext>
                  </a:extLst>
                </a:gridCol>
                <a:gridCol w="2250439">
                  <a:extLst>
                    <a:ext uri="{9D8B030D-6E8A-4147-A177-3AD203B41FA5}">
                      <a16:colId xmlns:a16="http://schemas.microsoft.com/office/drawing/2014/main" val="1209552632"/>
                    </a:ext>
                  </a:extLst>
                </a:gridCol>
                <a:gridCol w="2250439">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31015945"/>
                  </a:ext>
                </a:extLst>
              </a:tr>
              <a:tr h="689233">
                <a:tc>
                  <a:txBody>
                    <a:bodyPr/>
                    <a:lstStyle/>
                    <a:p>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Definition </a:t>
                      </a:r>
                      <a:endParaRPr lang="en-GB" sz="1400" b="0" i="1" kern="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sym typeface="Arial" panose="020B0604020202020204" pitchFamily="34" charset="0"/>
                      </a:endParaRPr>
                    </a:p>
                  </a:txBody>
                  <a:tcPr marL="108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91440" indent="-88900" algn="l" defTabSz="1219170" rtl="0" eaLnBrk="1" fontAlgn="t" latinLnBrk="0" hangingPunct="1">
                        <a:lnSpc>
                          <a:spcPct val="100000"/>
                        </a:lnSpc>
                        <a:spcBef>
                          <a:spcPts val="0"/>
                        </a:spcBef>
                        <a:spcAft>
                          <a:spcPts val="3195"/>
                        </a:spcAft>
                        <a:buFont typeface="Arial" panose="020B0604020202020204" pitchFamily="34" charset="0"/>
                        <a:buChar char="•"/>
                      </a:pPr>
                      <a:r>
                        <a:rPr lang="en-US" sz="1000" b="1" kern="1200">
                          <a:solidFill>
                            <a:schemeClr val="tx1"/>
                          </a:solidFill>
                          <a:latin typeface="Arial" panose="020B0604020202020204" pitchFamily="34" charset="0"/>
                          <a:ea typeface="+mn-ea"/>
                          <a:cs typeface="Arial" panose="020B0604020202020204" pitchFamily="34" charset="0"/>
                          <a:sym typeface="Arial" panose="020B0604020202020204" pitchFamily="34" charset="0"/>
                        </a:rPr>
                        <a:t>Understands the importance of and displays impactful communications.</a:t>
                      </a:r>
                      <a:endParaRPr lang="en-US" sz="10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68580" indent="-88900" algn="l" defTabSz="1219170" rtl="0" eaLnBrk="1" fontAlgn="t" latinLnBrk="0" hangingPunct="1">
                        <a:lnSpc>
                          <a:spcPct val="100000"/>
                        </a:lnSpc>
                        <a:spcBef>
                          <a:spcPts val="0"/>
                        </a:spcBef>
                        <a:spcAft>
                          <a:spcPts val="1035"/>
                        </a:spcAft>
                        <a:buFont typeface="Arial" panose="020B0604020202020204" pitchFamily="34" charset="0"/>
                        <a:buChar char="•"/>
                      </a:pPr>
                      <a:r>
                        <a:rPr lang="en-US" sz="1000" b="1" kern="1200">
                          <a:solidFill>
                            <a:schemeClr val="tx1"/>
                          </a:solidFill>
                          <a:latin typeface="Arial" panose="020B0604020202020204" pitchFamily="34" charset="0"/>
                          <a:ea typeface="+mn-ea"/>
                          <a:cs typeface="Arial" panose="020B0604020202020204" pitchFamily="34" charset="0"/>
                          <a:sym typeface="Arial" panose="020B0604020202020204" pitchFamily="34" charset="0"/>
                        </a:rPr>
                        <a:t>Effectively conveys key messages with advanced ability to articulate compelling communications.</a:t>
                      </a:r>
                      <a:endParaRPr lang="en-US" sz="10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1219170" rtl="0" eaLnBrk="1" fontAlgn="t" latinLnBrk="0" hangingPunct="1">
                        <a:lnSpc>
                          <a:spcPct val="100000"/>
                        </a:lnSpc>
                        <a:spcBef>
                          <a:spcPts val="0"/>
                        </a:spcBef>
                        <a:spcAft>
                          <a:spcPts val="1030"/>
                        </a:spcAft>
                        <a:buFont typeface="Arial" panose="020B0604020202020204" pitchFamily="34" charset="0"/>
                        <a:buChar char="•"/>
                      </a:pPr>
                      <a:r>
                        <a:rPr lang="en-US" sz="1000" b="1" kern="1200">
                          <a:solidFill>
                            <a:schemeClr val="tx1"/>
                          </a:solidFill>
                          <a:latin typeface="Arial" panose="020B0604020202020204" pitchFamily="34" charset="0"/>
                          <a:ea typeface="+mn-ea"/>
                          <a:cs typeface="Arial" panose="020B0604020202020204" pitchFamily="34" charset="0"/>
                          <a:sym typeface="Arial" panose="020B0604020202020204" pitchFamily="34" charset="0"/>
                        </a:rPr>
                        <a:t>Delivers well-articulated messages and makes an impact on stakeholders.</a:t>
                      </a:r>
                      <a:endParaRPr lang="en-US" sz="10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1219170" rtl="0" eaLnBrk="1" fontAlgn="t" latinLnBrk="0" hangingPunct="1">
                        <a:lnSpc>
                          <a:spcPct val="100000"/>
                        </a:lnSpc>
                        <a:spcBef>
                          <a:spcPts val="0"/>
                        </a:spcBef>
                        <a:spcAft>
                          <a:spcPts val="2110"/>
                        </a:spcAft>
                        <a:buFont typeface="Arial" panose="020B0604020202020204" pitchFamily="34" charset="0"/>
                        <a:buChar char="•"/>
                      </a:pPr>
                      <a:r>
                        <a:rPr lang="en-US" sz="1000" b="1" kern="1200">
                          <a:solidFill>
                            <a:schemeClr val="tx1"/>
                          </a:solidFill>
                          <a:latin typeface="Arial" panose="020B0604020202020204" pitchFamily="34" charset="0"/>
                          <a:ea typeface="+mn-ea"/>
                          <a:cs typeface="Arial" panose="020B0604020202020204" pitchFamily="34" charset="0"/>
                          <a:sym typeface="Arial" panose="020B0604020202020204" pitchFamily="34" charset="0"/>
                        </a:rPr>
                        <a:t>Exhibits exceptional communication skills, skilled at navigating difficult conversations and delivers high impact on stakeholders</a:t>
                      </a:r>
                      <a:endParaRPr lang="en-US" sz="10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larity, active listening &amp; non-verbal communica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lgn="l" rtl="0" fontAlgn="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monstrates understanding by nodding and maintaining eye contact.</a:t>
                      </a:r>
                    </a:p>
                    <a:p>
                      <a:pPr marL="88900" indent="-88900" algn="l" rtl="0" fontAlgn="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sks clarifying questions to ensure comprehension.</a:t>
                      </a:r>
                    </a:p>
                    <a:p>
                      <a:pPr marL="88900" indent="-88900" algn="l" rtl="0" fontAlgn="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araphrases key points to confirm understanding.</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lvl="0" indent="-8890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asic: Accurately summarizes discussions and decisions.</a:t>
                      </a:r>
                    </a:p>
                    <a:p>
                      <a:pPr marL="88900" marR="0" lvl="0" indent="-8890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tegrates feedback effectively, demonstrating an understanding of team concerns and suggestions.</a:t>
                      </a:r>
                    </a:p>
                    <a:p>
                      <a:pPr marL="88900" marR="0" lvl="0" indent="-8890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aches team members on the effective use of nonverbal communication</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88900" indent="-88900" algn="l" rtl="0" fontAlgn="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Listens to stakeholder concerns and addresses them in a timely manner.</a:t>
                      </a:r>
                    </a:p>
                    <a:p>
                      <a:pPr marL="88900" indent="-88900" algn="l" rtl="0" fontAlgn="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Facilitates effective communication channels across teams and departments, ensuring all voices are heard.</a:t>
                      </a:r>
                    </a:p>
                    <a:p>
                      <a:pPr marL="88900" indent="-88900" algn="l" rtl="0" fontAlgn="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ses active listening to identify underlying issues and conflicts, then develops strategic solutions that align with organizational goals.</a:t>
                      </a:r>
                    </a:p>
                    <a:p>
                      <a:pPr marL="88900" indent="-88900" algn="l" rtl="0" fontAlgn="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ses nonverbal communication to manage and de-escalate conflicts, promoting a positive team environment.</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1450" indent="-171450" algn="l" rtl="0" fontAlgn="t">
                        <a:buFont typeface="Arial" panose="020B0604020202020204" pitchFamily="34" charset="0"/>
                        <a:buChar char="•"/>
                      </a:pPr>
                      <a:endParaRPr lang="en-GB" sz="1000" b="0" i="0" u="none" strike="noStrike" kern="1200" dirty="0">
                        <a:solidFill>
                          <a:schemeClr val="tx1"/>
                        </a:solidFill>
                        <a:effectLst/>
                        <a:latin typeface="+mn-lt"/>
                        <a:ea typeface="+mn-ea"/>
                        <a:cs typeface="+mn-cs"/>
                      </a:endParaRPr>
                    </a:p>
                  </a:txBody>
                  <a:tcPr marL="36000" marR="36000" marT="36000" marB="36000">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26541655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Top-down story telling</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lgn="l" defTabSz="1219170" rtl="0" eaLnBrk="1" fontAlgn="t" latinLnBrk="0" hangingPunct="1">
                        <a:lnSpc>
                          <a:spcPct val="100000"/>
                        </a:lnSpc>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Structures thoughts, information and ideas in a concise way that enables storytelling</a:t>
                      </a:r>
                    </a:p>
                    <a:p>
                      <a:pPr marL="88900" indent="-88900" algn="l" defTabSz="1219170" rtl="0" eaLnBrk="1" fontAlgn="t" latinLnBrk="0" hangingPunct="1">
                        <a:lnSpc>
                          <a:spcPct val="100000"/>
                        </a:lnSpc>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uilds powerful narratives through written and oral business language and adapts style to suit audience</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lgn="l" rtl="0" fontAlgn="t">
                        <a:lnSpc>
                          <a:spcPct val="100000"/>
                        </a:lnSpc>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mploys and adapts articulation/storytelling skills and frameworks to communicate key messages to internal and external stakeholders</a:t>
                      </a:r>
                    </a:p>
                    <a:p>
                      <a:pPr marL="88900" indent="-88900" algn="l" rtl="0" fontAlgn="t">
                        <a:lnSpc>
                          <a:spcPct val="100000"/>
                        </a:lnSpc>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Leverages a variety of articulation/storytelling techniques and adapts style to suit audience</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lgn="l" rtl="0" fontAlgn="t">
                        <a:lnSpc>
                          <a:spcPct val="100000"/>
                        </a:lnSpc>
                        <a:buFont typeface="Arial" panose="020B0604020202020204" pitchFamily="34" charset="0"/>
                        <a:buChar char="•"/>
                      </a:pPr>
                      <a:r>
                        <a:rPr lang="en-US"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Builds powerful narratives using articulation/storytelling skills to collaborate with internal and external stakeholders</a:t>
                      </a:r>
                    </a:p>
                    <a:p>
                      <a:pPr marL="88900" indent="-88900" algn="l" rtl="0" fontAlgn="t">
                        <a:lnSpc>
                          <a:spcPct val="100000"/>
                        </a:lnSpc>
                        <a:buFont typeface="Arial" panose="020B0604020202020204" pitchFamily="34" charset="0"/>
                        <a:buChar char="•"/>
                      </a:pPr>
                      <a:r>
                        <a:rPr lang="en-US"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Presents cogent idea/information using clear and concise messaging leveraging visual mediums</a:t>
                      </a:r>
                    </a:p>
                    <a:p>
                      <a:pPr marL="88900" indent="-88900" algn="l" rtl="0" fontAlgn="t">
                        <a:lnSpc>
                          <a:spcPct val="100000"/>
                        </a:lnSpc>
                        <a:buFont typeface="Arial" panose="020B0604020202020204" pitchFamily="34" charset="0"/>
                        <a:buChar char="•"/>
                      </a:pPr>
                      <a:r>
                        <a:rPr lang="en-US"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Anticipates stakeholder responses and modifies communication approach to effectively articulate information</a:t>
                      </a:r>
                      <a:endPar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rtl="0" fontAlgn="t">
                        <a:lnSpc>
                          <a:spcPct val="100000"/>
                        </a:lnSpc>
                        <a:buFont typeface="Arial" panose="020B0604020202020204" pitchFamily="34" charset="0"/>
                        <a:buChar char="•"/>
                      </a:pPr>
                      <a:r>
                        <a:rPr lang="en-US"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Strategizes the approach, intent and desired outcomes to build narratives that galvanize the audience into taking meaningful actions</a:t>
                      </a:r>
                    </a:p>
                    <a:p>
                      <a:pPr marL="171450" indent="-82550" algn="l" rtl="0" fontAlgn="t">
                        <a:lnSpc>
                          <a:spcPct val="100000"/>
                        </a:lnSpc>
                        <a:buFont typeface="Arial" panose="020B0604020202020204" pitchFamily="34" charset="0"/>
                        <a:buChar char="•"/>
                      </a:pPr>
                      <a:r>
                        <a:rPr lang="en-US"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Adapts communication style based on the audience’s response, and maintains a direct, candid approach to build rapport at the executive level</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9216629"/>
                  </a:ext>
                </a:extLst>
              </a:tr>
              <a:tr h="76809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esentation skills</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lvl="0" indent="-88900" algn="l" defTabSz="1219170" rtl="0" eaLnBrk="1" fontAlgn="t" latinLnBrk="0" hangingPunct="1">
                        <a:lnSpc>
                          <a:spcPct val="100000"/>
                        </a:lnSpc>
                        <a:spcBef>
                          <a:spcPts val="0"/>
                        </a:spcBef>
                        <a:spcAft>
                          <a:spcPts val="600"/>
                        </a:spcAft>
                        <a:buClrTx/>
                        <a:buSzTx/>
                        <a:buFont typeface="Arial" panose="020B0604020202020204" pitchFamily="34" charset="0"/>
                        <a:buChar char="•"/>
                        <a:tabLst>
                          <a:tab pos="88900" algn="l"/>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nderstands the art of facilitating conversations and meetings with internal and external stakeholders to communicate ideas clearly and accurately</a:t>
                      </a:r>
                      <a:b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b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Leverages tools/resources to ensure facilitation materials are inclusive</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lvl="0" indent="-8890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Facilitates conversations, meetings and other interactions with internal and external stakeholders in an impactful way that enables open exchange of ideas and information</a:t>
                      </a:r>
                    </a:p>
                    <a:p>
                      <a:pPr marL="88900" marR="0" lvl="0" indent="-8890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velops tools/resources to ensure facilitation materials are inclusive</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lvl="0" indent="-8890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ses a range of facilitation methods to convey ideas, evoke creativity and maximize participation</a:t>
                      </a:r>
                    </a:p>
                    <a:p>
                      <a:pPr marL="88900" marR="0" lvl="0" indent="-8890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Forges collaborative relationships through open and impactful facilitation skills</a:t>
                      </a:r>
                    </a:p>
                    <a:p>
                      <a:pPr marL="88900" marR="0" lvl="0" indent="-8890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anages multi-session events effectively </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rtl="0" fontAlgn="t">
                        <a:lnSpc>
                          <a:spcPct val="100000"/>
                        </a:lnSpc>
                        <a:buFont typeface="Arial" panose="020B0604020202020204" pitchFamily="34" charset="0"/>
                        <a:buChar char="•"/>
                        <a:tabLst/>
                      </a:pPr>
                      <a:r>
                        <a:rPr lang="en-US"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isplays exceptional facilitation skills delivering high impact for internal and external stakeholders</a:t>
                      </a:r>
                    </a:p>
                    <a:p>
                      <a:pPr marL="171450" indent="-82550" algn="l" rtl="0" fontAlgn="t">
                        <a:lnSpc>
                          <a:spcPct val="100000"/>
                        </a:lnSpc>
                        <a:buFont typeface="Arial" panose="020B0604020202020204" pitchFamily="34" charset="0"/>
                        <a:buChar char="•"/>
                        <a:tabLst/>
                      </a:pPr>
                      <a:r>
                        <a:rPr lang="en-US"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Ensures productive outcomes for all stakeholders through facilitative process</a:t>
                      </a:r>
                    </a:p>
                    <a:p>
                      <a:pPr marL="171450" indent="-82550" algn="l" rtl="0" fontAlgn="t">
                        <a:lnSpc>
                          <a:spcPct val="100000"/>
                        </a:lnSpc>
                        <a:buFont typeface="Arial" panose="020B0604020202020204" pitchFamily="34" charset="0"/>
                        <a:buChar char="•"/>
                        <a:tabLst/>
                      </a:pPr>
                      <a:r>
                        <a:rPr lang="en-US"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Promotes participatory environment ensuring diversity and inclusiveness</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778363"/>
                  </a:ext>
                </a:extLst>
              </a:tr>
              <a:tr h="66975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ata analysis &amp; visualisation</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defTabSz="914355" rtl="0" eaLnBrk="1" fontAlgn="ctr" latinLnBrk="0" hangingPunct="1">
                        <a:buFont typeface="Arial" panose="020B0604020202020204" pitchFamily="34" charset="0"/>
                        <a:buChar char="•"/>
                      </a:pPr>
                      <a:r>
                        <a:rPr lang="en-US" sz="1000" b="0" i="0" u="none" strike="noStrike" kern="1200">
                          <a:solidFill>
                            <a:srgbClr val="292929"/>
                          </a:solidFill>
                          <a:effectLst/>
                          <a:latin typeface="Arial" panose="020B0604020202020204" pitchFamily="34" charset="0"/>
                          <a:ea typeface="+mn-ea"/>
                          <a:cs typeface="Arial" panose="020B0604020202020204" pitchFamily="34" charset="0"/>
                          <a:sym typeface="Arial" panose="020B0604020202020204" pitchFamily="34" charset="0"/>
                        </a:rPr>
                        <a:t>Translates insights and model output to strong conclusions (identify the 'so whats')</a:t>
                      </a:r>
                      <a:endParaRPr lang="en-US" sz="1000" b="0" i="0" u="none" strike="noStrike" kern="1200" dirty="0">
                        <a:solidFill>
                          <a:srgbClr val="292929"/>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defTabSz="914355" rtl="0" eaLnBrk="1" fontAlgn="ctr" latinLnBrk="0" hangingPunct="1">
                        <a:buFont typeface="Arial" panose="020B0604020202020204" pitchFamily="34" charset="0"/>
                        <a:buChar char="•"/>
                        <a:tabLst/>
                      </a:pPr>
                      <a:r>
                        <a:rPr lang="en-US" sz="1000" b="0" i="0" u="none" strike="noStrike" kern="1200">
                          <a:solidFill>
                            <a:srgbClr val="292929"/>
                          </a:solidFill>
                          <a:effectLst/>
                          <a:latin typeface="Arial" panose="020B0604020202020204" pitchFamily="34" charset="0"/>
                          <a:ea typeface="+mn-ea"/>
                          <a:cs typeface="Arial" panose="020B0604020202020204" pitchFamily="34" charset="0"/>
                          <a:sym typeface="Arial" panose="020B0604020202020204" pitchFamily="34" charset="0"/>
                        </a:rPr>
                        <a:t>Translates insights and model output to actionable advice; which are aligned with the business objectives</a:t>
                      </a:r>
                      <a:endParaRPr lang="en-US" sz="1000" b="0" i="0" u="none" strike="noStrike" kern="1200" dirty="0">
                        <a:solidFill>
                          <a:srgbClr val="292929"/>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fontAlgn="ctr">
                        <a:buFont typeface="Arial" panose="020B0604020202020204" pitchFamily="34" charset="0"/>
                        <a:buChar char="•"/>
                      </a:pPr>
                      <a:r>
                        <a:rPr lang="en-US" sz="1000" b="0" i="0" u="none" strike="noStrike">
                          <a:solidFill>
                            <a:srgbClr val="292929"/>
                          </a:solidFill>
                          <a:effectLst/>
                          <a:latin typeface="Arial" panose="020B0604020202020204" pitchFamily="34" charset="0"/>
                          <a:cs typeface="Arial" panose="020B0604020202020204" pitchFamily="34" charset="0"/>
                          <a:sym typeface="Arial" panose="020B0604020202020204" pitchFamily="34" charset="0"/>
                        </a:rPr>
                        <a:t>Understands which business bottlenecks need to be addressed to harvest model potential</a:t>
                      </a:r>
                      <a:endParaRPr lang="en-US" sz="1000" b="0" i="0" u="none" strike="noStrike" dirty="0">
                        <a:solidFill>
                          <a:srgbClr val="292929"/>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82550" algn="l" fontAlgn="ctr">
                        <a:buFont typeface="Arial" panose="020B0604020202020204" pitchFamily="34" charset="0"/>
                        <a:buChar char="•"/>
                      </a:pPr>
                      <a:r>
                        <a:rPr lang="en-US" sz="1000" b="0" i="0" u="none" strike="noStrike">
                          <a:solidFill>
                            <a:srgbClr val="292929"/>
                          </a:solidFill>
                          <a:effectLst/>
                          <a:latin typeface="Arial" panose="020B0604020202020204" pitchFamily="34" charset="0"/>
                          <a:cs typeface="Arial" panose="020B0604020202020204" pitchFamily="34" charset="0"/>
                          <a:sym typeface="Arial" panose="020B0604020202020204" pitchFamily="34" charset="0"/>
                        </a:rPr>
                        <a:t>Understands which business bottlenecks need to be addressed to enforce structural change with algorithmic systems</a:t>
                      </a:r>
                      <a:endParaRPr lang="en-US" sz="1000" b="0" i="0" u="none" strike="noStrike" dirty="0">
                        <a:solidFill>
                          <a:srgbClr val="292929"/>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97856550"/>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a:solidFill>
                  <a:schemeClr val="accent3"/>
                </a:solidFill>
              </a:rPr>
              <a:t>Professional competency| </a:t>
            </a:r>
            <a:r>
              <a:rPr lang="en-US" sz="2903" dirty="0">
                <a:solidFill>
                  <a:schemeClr val="tx1"/>
                </a:solidFill>
              </a:rPr>
              <a:t>Effective communication</a:t>
            </a:r>
          </a:p>
        </p:txBody>
      </p:sp>
    </p:spTree>
    <p:extLst>
      <p:ext uri="{BB962C8B-B14F-4D97-AF65-F5344CB8AC3E}">
        <p14:creationId xmlns:p14="http://schemas.microsoft.com/office/powerpoint/2010/main" val="238034281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3583697027"/>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2373978450"/>
              </p:ext>
            </p:extLst>
          </p:nvPr>
        </p:nvGraphicFramePr>
        <p:xfrm>
          <a:off x="470844" y="972763"/>
          <a:ext cx="11252195" cy="5792786"/>
        </p:xfrm>
        <a:graphic>
          <a:graphicData uri="http://schemas.openxmlformats.org/drawingml/2006/table">
            <a:tbl>
              <a:tblPr firstRow="1" bandRow="1">
                <a:tableStyleId>{5C22544A-7EE6-4342-B048-85BDC9FD1C3A}</a:tableStyleId>
              </a:tblPr>
              <a:tblGrid>
                <a:gridCol w="2250439">
                  <a:extLst>
                    <a:ext uri="{9D8B030D-6E8A-4147-A177-3AD203B41FA5}">
                      <a16:colId xmlns:a16="http://schemas.microsoft.com/office/drawing/2014/main" val="2010582758"/>
                    </a:ext>
                  </a:extLst>
                </a:gridCol>
                <a:gridCol w="2250439">
                  <a:extLst>
                    <a:ext uri="{9D8B030D-6E8A-4147-A177-3AD203B41FA5}">
                      <a16:colId xmlns:a16="http://schemas.microsoft.com/office/drawing/2014/main" val="3881206508"/>
                    </a:ext>
                  </a:extLst>
                </a:gridCol>
                <a:gridCol w="2250439">
                  <a:extLst>
                    <a:ext uri="{9D8B030D-6E8A-4147-A177-3AD203B41FA5}">
                      <a16:colId xmlns:a16="http://schemas.microsoft.com/office/drawing/2014/main" val="2356519941"/>
                    </a:ext>
                  </a:extLst>
                </a:gridCol>
                <a:gridCol w="2250439">
                  <a:extLst>
                    <a:ext uri="{9D8B030D-6E8A-4147-A177-3AD203B41FA5}">
                      <a16:colId xmlns:a16="http://schemas.microsoft.com/office/drawing/2014/main" val="1209552632"/>
                    </a:ext>
                  </a:extLst>
                </a:gridCol>
                <a:gridCol w="2250439">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31015945"/>
                  </a:ext>
                </a:extLst>
              </a:tr>
              <a:tr h="901526">
                <a:tc>
                  <a:txBody>
                    <a:bodyPr/>
                    <a:lstStyle/>
                    <a:p>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Definition </a:t>
                      </a:r>
                      <a:endParaRPr lang="en-GB" sz="1400" b="0" i="1" kern="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sym typeface="Arial" panose="020B0604020202020204" pitchFamily="34" charset="0"/>
                      </a:endParaRPr>
                    </a:p>
                  </a:txBody>
                  <a:tcPr marL="108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GB" sz="1000" b="1" i="0" u="none" strike="noStrike" kern="1200">
                          <a:solidFill>
                            <a:schemeClr val="tx1"/>
                          </a:solidFill>
                          <a:effectLst/>
                          <a:latin typeface="+mn-lt"/>
                          <a:ea typeface="+mn-ea"/>
                          <a:cs typeface="Arial" panose="020B0604020202020204" pitchFamily="34" charset="0"/>
                          <a:sym typeface="Arial" panose="020B0604020202020204" pitchFamily="34" charset="0"/>
                        </a:rPr>
                        <a:t>Demonstrates a commitment to personal learning and development</a:t>
                      </a:r>
                      <a:endParaRPr lang="en-GB" sz="1000" b="1" i="0" u="none" strike="noStrike" kern="1200" dirty="0">
                        <a:solidFill>
                          <a:schemeClr val="tx1"/>
                        </a:solidFill>
                        <a:effectLst/>
                        <a:latin typeface="+mn-lt"/>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kern="1200">
                          <a:solidFill>
                            <a:schemeClr val="tx1"/>
                          </a:solidFill>
                          <a:effectLst/>
                          <a:latin typeface="+mn-lt"/>
                          <a:ea typeface="+mn-ea"/>
                          <a:cs typeface="Arial" panose="020B0604020202020204" pitchFamily="34" charset="0"/>
                          <a:sym typeface="Arial" panose="020B0604020202020204" pitchFamily="34" charset="0"/>
                        </a:rPr>
                        <a:t>Develops self by actively seeking opportunities for growth, shares knowledge and experiences with others, and acts as a strong brand ambassador </a:t>
                      </a:r>
                      <a:endParaRPr lang="en-US" sz="1000" b="1" i="0" u="none" strike="noStrike" kern="1200" dirty="0">
                        <a:solidFill>
                          <a:schemeClr val="tx1"/>
                        </a:solidFill>
                        <a:effectLst/>
                        <a:latin typeface="+mn-lt"/>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1" i="0" u="none" strike="noStrike" kern="1200">
                          <a:solidFill>
                            <a:schemeClr val="tx1"/>
                          </a:solidFill>
                          <a:effectLst/>
                          <a:latin typeface="+mn-lt"/>
                          <a:ea typeface="+mn-ea"/>
                          <a:cs typeface="Arial" panose="020B0604020202020204" pitchFamily="34" charset="0"/>
                          <a:sym typeface="Arial" panose="020B0604020202020204" pitchFamily="34" charset="0"/>
                        </a:rPr>
                        <a:t>Develops diverse, high-performing people and teams through new and meaningful development opportunities  </a:t>
                      </a:r>
                      <a:endParaRPr lang="en-US" sz="1000" b="1" i="0" u="none" strike="noStrike" kern="1200" dirty="0">
                        <a:solidFill>
                          <a:schemeClr val="tx1"/>
                        </a:solidFill>
                        <a:effectLst/>
                        <a:latin typeface="+mn-lt"/>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1" i="0" u="none" strike="noStrike" kern="1200">
                          <a:solidFill>
                            <a:schemeClr val="tx1"/>
                          </a:solidFill>
                          <a:effectLst/>
                          <a:latin typeface="+mn-lt"/>
                          <a:ea typeface="+mn-ea"/>
                          <a:cs typeface="Arial" panose="020B0604020202020204" pitchFamily="34" charset="0"/>
                          <a:sym typeface="Arial" panose="020B0604020202020204" pitchFamily="34" charset="0"/>
                        </a:rPr>
                        <a:t>Contributes to building a diverse talent pipeline; creates a talent experience that attracts, develops and retains diverse, top talent and high performing teams  </a:t>
                      </a:r>
                      <a:endParaRPr lang="en-US" sz="1000" b="1" i="0" u="none" strike="noStrike" kern="1200" dirty="0">
                        <a:solidFill>
                          <a:schemeClr val="tx1"/>
                        </a:solidFill>
                        <a:effectLst/>
                        <a:latin typeface="+mn-lt"/>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901526">
                <a:tc>
                  <a:txBody>
                    <a:bodyPr/>
                    <a:lstStyle/>
                    <a:p>
                      <a:pPr marL="0" indent="0" algn="l" rtl="0" fontAlgn="ctr">
                        <a:buFont typeface="Arial" panose="020B0604020202020204" pitchFamily="34" charset="0"/>
                        <a:buNone/>
                      </a:pPr>
                      <a:r>
                        <a:rPr lang="en-US" sz="1400" b="1"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Project &amp; Program management</a:t>
                      </a:r>
                      <a:endParaRPr lang="en-US" sz="14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indent="-177800" algn="l" rtl="0" fontAlgn="ctr">
                        <a:buFont typeface="Arial" panose="020B0604020202020204" pitchFamily="34" charset="0"/>
                        <a:buChar char="•"/>
                      </a:pPr>
                      <a:r>
                        <a:rPr lang="en-US" sz="1000" b="0" i="0" u="none" strike="noStrike">
                          <a:solidFill>
                            <a:srgbClr val="292929"/>
                          </a:solidFill>
                          <a:effectLst/>
                          <a:latin typeface="+mn-lt"/>
                          <a:cs typeface="Arial" panose="020B0604020202020204" pitchFamily="34" charset="0"/>
                          <a:sym typeface="Arial" panose="020B0604020202020204" pitchFamily="34" charset="0"/>
                        </a:rPr>
                        <a:t>Manage own activities and create results within aligned timelines</a:t>
                      </a:r>
                    </a:p>
                    <a:p>
                      <a:pPr marL="177800" indent="-177800" algn="l" rtl="0" fontAlgn="ctr">
                        <a:buFont typeface="Arial" panose="020B0604020202020204" pitchFamily="34" charset="0"/>
                        <a:buChar char="•"/>
                      </a:pPr>
                      <a:r>
                        <a:rPr lang="en-US" sz="1000" b="0" i="0" u="none" strike="noStrike" kern="1200">
                          <a:solidFill>
                            <a:schemeClr val="tx1"/>
                          </a:solidFill>
                          <a:effectLst/>
                          <a:latin typeface="+mn-lt"/>
                          <a:ea typeface="+mn-ea"/>
                          <a:cs typeface="+mn-cs"/>
                        </a:rPr>
                        <a:t>Has basic knowledge of in-scope and out-of-scope engagement elements</a:t>
                      </a:r>
                    </a:p>
                    <a:p>
                      <a:pPr marL="177800" indent="-177800" algn="l" rtl="0" fontAlgn="ctr">
                        <a:buFont typeface="Arial" panose="020B0604020202020204" pitchFamily="34" charset="0"/>
                        <a:buChar char="•"/>
                      </a:pPr>
                      <a:r>
                        <a:rPr lang="en-US" sz="1000" b="0" i="0" u="none" strike="noStrike" kern="1200">
                          <a:solidFill>
                            <a:schemeClr val="tx1"/>
                          </a:solidFill>
                          <a:effectLst/>
                          <a:latin typeface="+mn-lt"/>
                          <a:ea typeface="+mn-ea"/>
                          <a:cs typeface="+mn-cs"/>
                        </a:rPr>
                        <a:t>Tracks efforts that need to be highlighted to team leaders for scope</a:t>
                      </a:r>
                    </a:p>
                    <a:p>
                      <a:pPr marL="177800" marR="0" lvl="0" indent="-17780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a:solidFill>
                            <a:schemeClr val="tx1"/>
                          </a:solidFill>
                          <a:effectLst/>
                          <a:latin typeface="+mn-lt"/>
                          <a:ea typeface="+mn-ea"/>
                          <a:cs typeface="+mn-cs"/>
                          <a:sym typeface="Arial" panose="020B0604020202020204" pitchFamily="34" charset="0"/>
                        </a:rPr>
                        <a:t>Prepares internal meetings and client updates proactively</a:t>
                      </a:r>
                      <a:endParaRPr lang="en-US" sz="1000" b="0" i="0" u="none" strike="noStrike" kern="1200">
                        <a:solidFill>
                          <a:schemeClr val="tx1"/>
                        </a:solidFill>
                        <a:effectLst/>
                        <a:latin typeface="+mn-lt"/>
                        <a:ea typeface="+mn-ea"/>
                        <a:cs typeface="+mn-cs"/>
                      </a:endParaRPr>
                    </a:p>
                    <a:p>
                      <a:pPr marL="177800" indent="-177800" algn="l" rtl="0" fontAlgn="ctr">
                        <a:buFont typeface="Arial" panose="020B0604020202020204" pitchFamily="34" charset="0"/>
                        <a:buChar char="•"/>
                      </a:pPr>
                      <a:endParaRPr lang="en-US" sz="1000" b="0" i="0" u="none" strike="noStrike" dirty="0">
                        <a:solidFill>
                          <a:srgbClr val="292929"/>
                        </a:solidFill>
                        <a:effectLst/>
                        <a:latin typeface="+mn-lt"/>
                        <a:cs typeface="Arial" panose="020B0604020202020204" pitchFamily="34" charset="0"/>
                        <a:sym typeface="Arial" panose="020B0604020202020204" pitchFamily="34" charset="0"/>
                      </a:endParaRPr>
                    </a:p>
                  </a:txBody>
                  <a:tcPr marL="65317"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indent="-177800" algn="l" rtl="0" fontAlgn="ctr">
                        <a:buFont typeface="Arial" panose="020B0604020202020204" pitchFamily="34" charset="0"/>
                        <a:buChar char="•"/>
                      </a:pPr>
                      <a:r>
                        <a:rPr lang="en-US" sz="1000" b="0" i="0" u="none" strike="noStrike">
                          <a:solidFill>
                            <a:srgbClr val="292929"/>
                          </a:solidFill>
                          <a:effectLst/>
                          <a:latin typeface="+mn-lt"/>
                          <a:cs typeface="Arial" panose="020B0604020202020204" pitchFamily="34" charset="0"/>
                          <a:sym typeface="Arial" panose="020B0604020202020204" pitchFamily="34" charset="0"/>
                        </a:rPr>
                        <a:t>Steers a workstream-team to the desired result, based on a clear planning and structure.</a:t>
                      </a:r>
                    </a:p>
                    <a:p>
                      <a:pPr marL="177800" indent="-177800" algn="l" rtl="0" fontAlgn="ctr">
                        <a:buFont typeface="Arial" panose="020B0604020202020204" pitchFamily="34" charset="0"/>
                        <a:buChar char="•"/>
                      </a:pPr>
                      <a:r>
                        <a:rPr lang="en-US" sz="1000" b="0" i="0" u="none" strike="noStrike" kern="1200">
                          <a:solidFill>
                            <a:schemeClr val="tx1"/>
                          </a:solidFill>
                          <a:effectLst/>
                          <a:latin typeface="+mn-lt"/>
                          <a:ea typeface="+mn-ea"/>
                          <a:cs typeface="+mn-cs"/>
                        </a:rPr>
                        <a:t>Deepens knowledge of engagement economics metrics and their relationship to profitability</a:t>
                      </a:r>
                    </a:p>
                    <a:p>
                      <a:pPr marL="177800" indent="-177800" algn="l" rtl="0" fontAlgn="ctr">
                        <a:buFont typeface="Arial" panose="020B0604020202020204" pitchFamily="34" charset="0"/>
                        <a:buChar char="•"/>
                      </a:pPr>
                      <a:r>
                        <a:rPr lang="en-US" sz="1000" b="0" i="0" u="none" strike="noStrike" kern="1200">
                          <a:solidFill>
                            <a:schemeClr val="tx1"/>
                          </a:solidFill>
                          <a:effectLst/>
                          <a:latin typeface="+mn-lt"/>
                          <a:ea typeface="+mn-ea"/>
                          <a:cs typeface="+mn-cs"/>
                          <a:sym typeface="Arial" panose="020B0604020202020204" pitchFamily="34" charset="0"/>
                        </a:rPr>
                        <a:t>Prepare (proactively) stakeholder meetings (i.e. Steering Committees)</a:t>
                      </a:r>
                      <a:endParaRPr lang="en-US" sz="1000" b="0" i="0" u="none" strike="noStrike" kern="1200" dirty="0">
                        <a:solidFill>
                          <a:schemeClr val="tx1"/>
                        </a:solidFill>
                        <a:effectLst/>
                        <a:latin typeface="+mn-lt"/>
                        <a:ea typeface="+mn-ea"/>
                        <a:cs typeface="+mn-cs"/>
                        <a:sym typeface="Arial" panose="020B0604020202020204" pitchFamily="34" charset="0"/>
                      </a:endParaRPr>
                    </a:p>
                  </a:txBody>
                  <a:tcPr marL="65317"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indent="-177800" algn="l" rtl="0" fontAlgn="ctr">
                        <a:buFont typeface="Arial" panose="020B0604020202020204" pitchFamily="34" charset="0"/>
                        <a:buChar char="•"/>
                      </a:pPr>
                      <a:r>
                        <a:rPr lang="en-US" sz="1000" b="0" i="0" u="none" strike="noStrike" dirty="0">
                          <a:solidFill>
                            <a:srgbClr val="292929"/>
                          </a:solidFill>
                          <a:effectLst/>
                          <a:latin typeface="+mn-lt"/>
                          <a:cs typeface="Arial" panose="020B0604020202020204" pitchFamily="34" charset="0"/>
                          <a:sym typeface="Arial" panose="020B0604020202020204" pitchFamily="34" charset="0"/>
                        </a:rPr>
                        <a:t>Steers the project team to the desired result, based on a clear planning and structure.</a:t>
                      </a:r>
                    </a:p>
                    <a:p>
                      <a:pPr marL="177800" indent="-177800" algn="l" rtl="0" fontAlgn="ctr">
                        <a:buFont typeface="Arial" panose="020B0604020202020204" pitchFamily="34" charset="0"/>
                        <a:buChar char="•"/>
                      </a:pPr>
                      <a:r>
                        <a:rPr lang="en-US" sz="1000" b="0" i="0" u="none" strike="noStrike" kern="1200" dirty="0">
                          <a:solidFill>
                            <a:schemeClr val="tx1"/>
                          </a:solidFill>
                          <a:effectLst/>
                          <a:latin typeface="+mn-lt"/>
                          <a:ea typeface="+mn-ea"/>
                          <a:cs typeface="+mn-cs"/>
                        </a:rPr>
                        <a:t>Defines guidelines for teams to ensure viability of engagement(s) through effective utilization of resources, operating within defined budgets</a:t>
                      </a:r>
                      <a:endParaRPr lang="en-US" sz="1000" b="0" i="0" u="none" strike="noStrike" dirty="0">
                        <a:solidFill>
                          <a:srgbClr val="292929"/>
                        </a:solidFill>
                        <a:effectLst/>
                        <a:latin typeface="+mn-lt"/>
                        <a:cs typeface="Arial" panose="020B0604020202020204" pitchFamily="34" charset="0"/>
                        <a:sym typeface="Arial" panose="020B0604020202020204" pitchFamily="34" charset="0"/>
                      </a:endParaRPr>
                    </a:p>
                  </a:txBody>
                  <a:tcPr marL="65317"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indent="-177800" algn="l" rtl="0" fontAlgn="ctr">
                        <a:buFont typeface="Arial" panose="020B0604020202020204" pitchFamily="34" charset="0"/>
                        <a:buChar char="•"/>
                      </a:pPr>
                      <a:r>
                        <a:rPr lang="en-US" sz="1000" b="0" i="0" u="none" strike="noStrike" dirty="0">
                          <a:solidFill>
                            <a:srgbClr val="292929"/>
                          </a:solidFill>
                          <a:effectLst/>
                          <a:latin typeface="+mn-lt"/>
                          <a:cs typeface="Arial" panose="020B0604020202020204" pitchFamily="34" charset="0"/>
                          <a:sym typeface="Arial" panose="020B0604020202020204" pitchFamily="34" charset="0"/>
                        </a:rPr>
                        <a:t>Steers the entire account team to the desired result, based on a clear planning and structure.</a:t>
                      </a:r>
                    </a:p>
                    <a:p>
                      <a:pPr marL="177800" indent="-177800" algn="l" rtl="0" fontAlgn="ctr">
                        <a:buFont typeface="Arial" panose="020B0604020202020204" pitchFamily="34" charset="0"/>
                        <a:buChar char="•"/>
                      </a:pPr>
                      <a:r>
                        <a:rPr lang="en-US" sz="1000" b="0" i="0" u="none" strike="noStrike" dirty="0">
                          <a:solidFill>
                            <a:schemeClr val="tx1"/>
                          </a:solidFill>
                          <a:effectLst/>
                          <a:latin typeface="+mn-lt"/>
                        </a:rPr>
                        <a:t>Builds and leads effective ways to manage engagement viability, including multiple (if applicable), complex engagements</a:t>
                      </a:r>
                    </a:p>
                    <a:p>
                      <a:pPr marL="177800" indent="-177800" algn="l" rtl="0" fontAlgn="ctr">
                        <a:buFont typeface="Arial" panose="020B0604020202020204" pitchFamily="34" charset="0"/>
                        <a:buChar char="•"/>
                      </a:pPr>
                      <a:r>
                        <a:rPr lang="en-US" sz="1000" b="0" i="0" u="none" strike="noStrike" dirty="0">
                          <a:solidFill>
                            <a:schemeClr val="tx1"/>
                          </a:solidFill>
                          <a:effectLst/>
                          <a:latin typeface="+mn-lt"/>
                        </a:rPr>
                        <a:t>Promotes a clear understanding of the economics of the engagement and a focus on maximizing value</a:t>
                      </a:r>
                      <a:endParaRPr lang="en-US" sz="1000" b="0" i="0" u="none" strike="noStrike" dirty="0">
                        <a:solidFill>
                          <a:srgbClr val="292929"/>
                        </a:solidFill>
                        <a:effectLst/>
                        <a:latin typeface="+mn-lt"/>
                        <a:cs typeface="Arial" panose="020B0604020202020204" pitchFamily="34" charset="0"/>
                        <a:sym typeface="Arial" panose="020B0604020202020204" pitchFamily="34" charset="0"/>
                      </a:endParaRPr>
                    </a:p>
                  </a:txBody>
                  <a:tcPr marL="65317"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53572477"/>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mpact crea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GB" sz="1000" b="0" i="0" u="none" strike="noStrike" kern="1200">
                          <a:solidFill>
                            <a:schemeClr val="tx1"/>
                          </a:solidFill>
                          <a:effectLst/>
                          <a:latin typeface="+mn-lt"/>
                          <a:ea typeface="+mn-ea"/>
                          <a:cs typeface="Arial" panose="020B0604020202020204" pitchFamily="34" charset="0"/>
                          <a:sym typeface="Arial" panose="020B0604020202020204" pitchFamily="34" charset="0"/>
                        </a:rPr>
                        <a:t>Recognizes and explores opportunities for quantitative impact on clients, colleagues or community</a:t>
                      </a:r>
                      <a:r>
                        <a:rPr lang="en-GB" sz="1000" b="0" i="0" u="none" strike="noStrike" kern="1200" baseline="0">
                          <a:solidFill>
                            <a:schemeClr val="tx1"/>
                          </a:solidFill>
                          <a:effectLst/>
                          <a:latin typeface="+mn-lt"/>
                          <a:ea typeface="+mn-ea"/>
                          <a:cs typeface="Arial" panose="020B0604020202020204" pitchFamily="34" charset="0"/>
                          <a:sym typeface="Arial" panose="020B0604020202020204" pitchFamily="34" charset="0"/>
                        </a:rPr>
                        <a:t> activity</a:t>
                      </a:r>
                    </a:p>
                    <a:p>
                      <a:pPr marL="171450" indent="-171450" algn="l" defTabSz="1219170" rtl="0" eaLnBrk="1" fontAlgn="t" latinLnBrk="0" hangingPunct="1">
                        <a:buFont typeface="Arial" panose="020B0604020202020204" pitchFamily="34" charset="0"/>
                        <a:buChar char="•"/>
                      </a:pPr>
                      <a:r>
                        <a:rPr lang="en-GB" sz="1000" b="0" i="0" u="none" strike="noStrike" kern="1200" baseline="0">
                          <a:solidFill>
                            <a:schemeClr val="tx1"/>
                          </a:solidFill>
                          <a:effectLst/>
                          <a:latin typeface="+mn-lt"/>
                          <a:ea typeface="+mn-ea"/>
                          <a:cs typeface="Arial" panose="020B0604020202020204" pitchFamily="34" charset="0"/>
                          <a:sym typeface="Arial" panose="020B0604020202020204" pitchFamily="34" charset="0"/>
                        </a:rPr>
                        <a:t>Proactively translates analysis into potential initiatives including quantified impact </a:t>
                      </a:r>
                      <a:endParaRPr lang="en-GB" sz="1000" b="0" i="0" u="none" strike="noStrike" kern="1200" dirty="0">
                        <a:solidFill>
                          <a:schemeClr val="tx1"/>
                        </a:solidFill>
                        <a:effectLst/>
                        <a:latin typeface="+mn-lt"/>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dirty="0">
                          <a:solidFill>
                            <a:schemeClr val="tx1"/>
                          </a:solidFill>
                          <a:effectLst/>
                          <a:latin typeface="+mn-lt"/>
                          <a:cs typeface="Arial" panose="020B0604020202020204" pitchFamily="34" charset="0"/>
                          <a:sym typeface="Arial" panose="020B0604020202020204" pitchFamily="34" charset="0"/>
                        </a:rPr>
                        <a:t>Encourages others to find opportunities for impact; sets the pace for junior staff and peers </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dirty="0">
                          <a:solidFill>
                            <a:schemeClr val="tx1"/>
                          </a:solidFill>
                          <a:effectLst/>
                          <a:latin typeface="+mn-lt"/>
                          <a:cs typeface="Arial" panose="020B0604020202020204" pitchFamily="34" charset="0"/>
                          <a:sym typeface="Arial" panose="020B0604020202020204" pitchFamily="34" charset="0"/>
                        </a:rPr>
                        <a:t>Recognizes colleagues and teams for the impact they make, and helps connect their contributions with Rewire’s purpose and shared value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kern="1200" dirty="0">
                          <a:solidFill>
                            <a:schemeClr val="tx1"/>
                          </a:solidFill>
                          <a:effectLst/>
                          <a:latin typeface="+mn-lt"/>
                          <a:ea typeface="+mn-ea"/>
                          <a:cs typeface="Arial" panose="020B0604020202020204" pitchFamily="34" charset="0"/>
                          <a:sym typeface="Arial" panose="020B0604020202020204" pitchFamily="34" charset="0"/>
                        </a:rPr>
                        <a:t>Seeks opportunities and delivers imp</a:t>
                      </a:r>
                      <a:r>
                        <a:rPr lang="en-GB" sz="1000" b="0" i="0" u="none" strike="noStrike" kern="1200" baseline="0" dirty="0">
                          <a:solidFill>
                            <a:schemeClr val="tx1"/>
                          </a:solidFill>
                          <a:effectLst/>
                          <a:latin typeface="+mn-lt"/>
                          <a:ea typeface="+mn-ea"/>
                          <a:cs typeface="Arial" panose="020B0604020202020204" pitchFamily="34" charset="0"/>
                          <a:sym typeface="Arial" panose="020B0604020202020204" pitchFamily="34" charset="0"/>
                        </a:rPr>
                        <a:t>act beyond their core project or stakeholder activity; sets an example to others for living Rewire’s purpose and shared value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42819949"/>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oactivity and effective collabora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chemeClr val="tx1"/>
                          </a:solidFill>
                          <a:effectLst/>
                          <a:latin typeface="+mn-lt"/>
                          <a:ea typeface="+mn-ea"/>
                          <a:cs typeface="Arial" panose="020B0604020202020204" pitchFamily="34" charset="0"/>
                          <a:sym typeface="Arial" panose="020B0604020202020204" pitchFamily="34" charset="0"/>
                        </a:rPr>
                        <a:t>Connects with team members; shares information and ideas within the team</a:t>
                      </a:r>
                    </a:p>
                    <a:p>
                      <a:pPr marL="171450" indent="-171450" algn="l" rtl="0" fontAlgn="t">
                        <a:buFont typeface="Arial" panose="020B0604020202020204" pitchFamily="34" charset="0"/>
                        <a:buChar char="•"/>
                      </a:pPr>
                      <a:r>
                        <a:rPr lang="en-GB" sz="1000" b="0" i="0" u="none" strike="noStrike" baseline="0">
                          <a:solidFill>
                            <a:schemeClr val="tx1"/>
                          </a:solidFill>
                          <a:effectLst/>
                          <a:latin typeface="+mn-lt"/>
                          <a:cs typeface="Arial" panose="020B0604020202020204" pitchFamily="34" charset="0"/>
                          <a:sym typeface="Arial" panose="020B0604020202020204" pitchFamily="34" charset="0"/>
                        </a:rPr>
                        <a:t>Understands how Rewire delivers value through the products or services within their </a:t>
                      </a:r>
                      <a:r>
                        <a:rPr lang="en-GB" sz="1000" b="0" i="0" u="none" strike="noStrike" kern="1200" baseline="0">
                          <a:solidFill>
                            <a:schemeClr val="tx1"/>
                          </a:solidFill>
                          <a:effectLst/>
                          <a:latin typeface="+mn-lt"/>
                          <a:ea typeface="+mn-ea"/>
                          <a:cs typeface="Arial" panose="020B0604020202020204" pitchFamily="34" charset="0"/>
                          <a:sym typeface="Arial" panose="020B0604020202020204" pitchFamily="34" charset="0"/>
                        </a:rPr>
                        <a:t>business area </a:t>
                      </a:r>
                      <a:endParaRPr lang="en-GB" sz="1000" b="0" i="0" u="none" strike="noStrike" kern="1200" dirty="0">
                        <a:solidFill>
                          <a:schemeClr val="tx1"/>
                        </a:solidFill>
                        <a:effectLst/>
                        <a:latin typeface="+mn-lt"/>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a:solidFill>
                            <a:schemeClr val="tx1"/>
                          </a:solidFill>
                          <a:effectLst/>
                          <a:latin typeface="+mn-lt"/>
                          <a:ea typeface="+mn-ea"/>
                          <a:cs typeface="Arial" panose="020B0604020202020204" pitchFamily="34" charset="0"/>
                          <a:sym typeface="Arial" panose="020B0604020202020204" pitchFamily="34" charset="0"/>
                        </a:rPr>
                        <a:t>S</a:t>
                      </a:r>
                      <a:r>
                        <a:rPr lang="en-GB" sz="1000" b="0" i="0" u="none" strike="noStrike" kern="1200">
                          <a:solidFill>
                            <a:schemeClr val="tx1"/>
                          </a:solidFill>
                          <a:effectLst/>
                          <a:latin typeface="+mn-lt"/>
                          <a:ea typeface="+mn-ea"/>
                          <a:cs typeface="Arial" panose="020B0604020202020204" pitchFamily="34" charset="0"/>
                          <a:sym typeface="Arial" panose="020B0604020202020204" pitchFamily="34" charset="0"/>
                        </a:rPr>
                        <a:t>eeks opportunities to work with other teams; develops an understanding of what colleagues do </a:t>
                      </a:r>
                      <a:r>
                        <a:rPr lang="en-GB" sz="1000" b="0" i="0" u="none" strike="noStrike" kern="1200" baseline="0">
                          <a:solidFill>
                            <a:schemeClr val="tx1"/>
                          </a:solidFill>
                          <a:effectLst/>
                          <a:latin typeface="+mn-lt"/>
                          <a:ea typeface="+mn-ea"/>
                          <a:cs typeface="Arial" panose="020B0604020202020204" pitchFamily="34" charset="0"/>
                          <a:sym typeface="Arial" panose="020B0604020202020204" pitchFamily="34" charset="0"/>
                        </a:rPr>
                        <a:t>and builds</a:t>
                      </a:r>
                      <a:r>
                        <a:rPr lang="en-GB" sz="1000" b="0" i="0" u="none" strike="noStrike" kern="1200">
                          <a:solidFill>
                            <a:schemeClr val="tx1"/>
                          </a:solidFill>
                          <a:effectLst/>
                          <a:latin typeface="+mn-lt"/>
                          <a:ea typeface="+mn-ea"/>
                          <a:cs typeface="Arial" panose="020B0604020202020204" pitchFamily="34" charset="0"/>
                          <a:sym typeface="Arial" panose="020B0604020202020204" pitchFamily="34" charset="0"/>
                        </a:rPr>
                        <a:t> collaborative working relationships</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chemeClr val="tx1"/>
                          </a:solidFill>
                          <a:effectLst/>
                          <a:latin typeface="+mn-lt"/>
                          <a:ea typeface="+mn-ea"/>
                          <a:cs typeface="Arial" panose="020B0604020202020204" pitchFamily="34" charset="0"/>
                          <a:sym typeface="Arial" panose="020B0604020202020204" pitchFamily="34" charset="0"/>
                        </a:rPr>
                        <a:t>Makes informed decisions within their area of responsibility and makes recommendations to enhance</a:t>
                      </a:r>
                      <a:r>
                        <a:rPr lang="en-GB" sz="1000" b="0" i="0" u="none" strike="noStrike" kern="1200" baseline="0">
                          <a:solidFill>
                            <a:schemeClr val="tx1"/>
                          </a:solidFill>
                          <a:effectLst/>
                          <a:latin typeface="+mn-lt"/>
                          <a:ea typeface="+mn-ea"/>
                          <a:cs typeface="Arial" panose="020B0604020202020204" pitchFamily="34" charset="0"/>
                          <a:sym typeface="Arial" panose="020B0604020202020204" pitchFamily="34" charset="0"/>
                        </a:rPr>
                        <a:t> </a:t>
                      </a:r>
                      <a:r>
                        <a:rPr lang="en-GB" sz="1000" b="0" i="0" u="none" strike="noStrike" kern="1200">
                          <a:solidFill>
                            <a:schemeClr val="tx1"/>
                          </a:solidFill>
                          <a:effectLst/>
                          <a:latin typeface="+mn-lt"/>
                          <a:ea typeface="+mn-ea"/>
                          <a:cs typeface="Arial" panose="020B0604020202020204" pitchFamily="34" charset="0"/>
                          <a:sym typeface="Arial" panose="020B0604020202020204" pitchFamily="34" charset="0"/>
                        </a:rPr>
                        <a:t>quality and effectiveness</a:t>
                      </a:r>
                      <a:endParaRPr lang="en-GB" sz="1000" b="0" i="0" u="none" strike="noStrike" kern="1200" dirty="0">
                        <a:solidFill>
                          <a:schemeClr val="tx1"/>
                        </a:solidFill>
                        <a:effectLst/>
                        <a:latin typeface="+mn-lt"/>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a:solidFill>
                            <a:schemeClr val="tx1"/>
                          </a:solidFill>
                          <a:effectLst/>
                          <a:latin typeface="+mn-lt"/>
                          <a:ea typeface="+mn-ea"/>
                          <a:cs typeface="Arial" panose="020B0604020202020204" pitchFamily="34" charset="0"/>
                          <a:sym typeface="Arial" panose="020B0604020202020204" pitchFamily="34" charset="0"/>
                        </a:rPr>
                        <a:t>Builds productive relationships within and across teams; works with others across Rewire as one team, sharing information and expertise</a:t>
                      </a:r>
                      <a:endParaRPr lang="en-GB" sz="1000" b="0" i="0" u="none" strike="noStrike" kern="1200">
                        <a:solidFill>
                          <a:schemeClr val="tx1"/>
                        </a:solidFill>
                        <a:effectLst/>
                        <a:latin typeface="+mn-lt"/>
                        <a:ea typeface="+mn-ea"/>
                        <a:cs typeface="Arial" panose="020B0604020202020204" pitchFamily="34" charset="0"/>
                        <a:sym typeface="Arial" panose="020B0604020202020204" pitchFamily="34" charset="0"/>
                      </a:endParaRPr>
                    </a:p>
                    <a:p>
                      <a:pPr marL="171450" indent="-171450" algn="l" rtl="0" fontAlgn="t">
                        <a:buFont typeface="Arial" panose="020B0604020202020204" pitchFamily="34" charset="0"/>
                        <a:buChar char="•"/>
                      </a:pPr>
                      <a:r>
                        <a:rPr lang="en-GB" sz="1000" b="0" i="0" u="none" strike="noStrike" kern="1200">
                          <a:solidFill>
                            <a:schemeClr val="tx1"/>
                          </a:solidFill>
                          <a:effectLst/>
                          <a:latin typeface="+mn-lt"/>
                          <a:ea typeface="+mn-ea"/>
                          <a:cs typeface="Arial" panose="020B0604020202020204" pitchFamily="34" charset="0"/>
                          <a:sym typeface="Arial" panose="020B0604020202020204" pitchFamily="34" charset="0"/>
                        </a:rPr>
                        <a:t>Actively manages the work of their teams against project scope to maximize quality, effectiveness and value to both clients and to Rewire</a:t>
                      </a:r>
                      <a:endParaRPr lang="en-GB" sz="1000" b="0" i="0" u="none" strike="noStrike" kern="1200" dirty="0">
                        <a:solidFill>
                          <a:schemeClr val="tx1"/>
                        </a:solidFill>
                        <a:effectLst/>
                        <a:latin typeface="+mn-lt"/>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dirty="0">
                          <a:solidFill>
                            <a:schemeClr val="tx1"/>
                          </a:solidFill>
                          <a:effectLst/>
                          <a:latin typeface="+mn-lt"/>
                          <a:ea typeface="+mn-ea"/>
                          <a:cs typeface="Arial" panose="020B0604020202020204" pitchFamily="34" charset="0"/>
                          <a:sym typeface="Arial" panose="020B0604020202020204" pitchFamily="34" charset="0"/>
                        </a:rPr>
                        <a:t>Builds productive relationships across Rewire, bringing together </a:t>
                      </a:r>
                      <a:r>
                        <a:rPr lang="en-US" sz="1000" i="0" kern="1200" dirty="0">
                          <a:solidFill>
                            <a:schemeClr val="tx1"/>
                          </a:solidFill>
                          <a:latin typeface="+mn-lt"/>
                          <a:ea typeface="Open Sans Semibold" panose="020B0706030804020204" pitchFamily="34" charset="0"/>
                          <a:cs typeface="Arial" panose="020B0604020202020204" pitchFamily="34" charset="0"/>
                          <a:sym typeface="Arial" panose="020B0604020202020204" pitchFamily="34" charset="0"/>
                        </a:rPr>
                        <a:t>expertise </a:t>
                      </a:r>
                      <a:r>
                        <a:rPr lang="en-US" sz="1000" i="0" kern="1200" baseline="0" dirty="0">
                          <a:solidFill>
                            <a:schemeClr val="tx1"/>
                          </a:solidFill>
                          <a:latin typeface="+mn-lt"/>
                          <a:ea typeface="Open Sans Semibold" panose="020B0706030804020204" pitchFamily="34" charset="0"/>
                          <a:cs typeface="Arial" panose="020B0604020202020204" pitchFamily="34" charset="0"/>
                          <a:sym typeface="Arial" panose="020B0604020202020204" pitchFamily="34" charset="0"/>
                        </a:rPr>
                        <a:t>to enhance quality, drive value and maximize effectiveness</a:t>
                      </a:r>
                      <a:endParaRPr lang="en-GB" sz="1000" b="0" i="0" u="none" strike="noStrike" kern="1200" dirty="0">
                        <a:solidFill>
                          <a:schemeClr val="tx1"/>
                        </a:solidFill>
                        <a:effectLst/>
                        <a:latin typeface="+mn-lt"/>
                        <a:ea typeface="+mn-ea"/>
                        <a:cs typeface="Arial" panose="020B0604020202020204" pitchFamily="34" charset="0"/>
                        <a:sym typeface="Arial" panose="020B0604020202020204" pitchFamily="34" charset="0"/>
                      </a:endParaRPr>
                    </a:p>
                    <a:p>
                      <a:pPr marL="171450" indent="-171450" algn="l" rtl="0" fontAlgn="t">
                        <a:buFont typeface="Arial" panose="020B0604020202020204" pitchFamily="34" charset="0"/>
                        <a:buChar char="•"/>
                      </a:pPr>
                      <a:r>
                        <a:rPr lang="en-GB" sz="1000" b="0" i="0" u="none" strike="noStrike" kern="1200" dirty="0">
                          <a:solidFill>
                            <a:schemeClr val="tx1"/>
                          </a:solidFill>
                          <a:effectLst/>
                          <a:latin typeface="+mn-lt"/>
                          <a:ea typeface="+mn-ea"/>
                          <a:cs typeface="Arial" panose="020B0604020202020204" pitchFamily="34" charset="0"/>
                          <a:sym typeface="Arial" panose="020B0604020202020204" pitchFamily="34" charset="0"/>
                        </a:rPr>
                        <a:t>Builds teams, project plans and solutions in a manner that manages risk and optimizes quality and value to clients and to Rewire</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303202" y="127870"/>
            <a:ext cx="12090421" cy="348380"/>
          </a:xfrm>
        </p:spPr>
        <p:txBody>
          <a:bodyPr vert="horz"/>
          <a:lstStyle/>
          <a:p>
            <a:r>
              <a:rPr lang="en-US" sz="2903" dirty="0">
                <a:solidFill>
                  <a:schemeClr val="accent3"/>
                </a:solidFill>
              </a:rPr>
              <a:t>Professional competency| </a:t>
            </a:r>
            <a:r>
              <a:rPr lang="en-US" sz="2903" dirty="0">
                <a:solidFill>
                  <a:schemeClr val="tx1"/>
                </a:solidFill>
              </a:rPr>
              <a:t>Delivery Management-</a:t>
            </a:r>
            <a:r>
              <a:rPr lang="en-US" sz="2903" b="0" i="1" dirty="0">
                <a:solidFill>
                  <a:schemeClr val="tx1"/>
                </a:solidFill>
              </a:rPr>
              <a:t> behavioral anchors</a:t>
            </a:r>
            <a:endParaRPr lang="en-US" sz="2903" dirty="0">
              <a:solidFill>
                <a:schemeClr val="tx1"/>
              </a:solidFill>
            </a:endParaRPr>
          </a:p>
        </p:txBody>
      </p:sp>
    </p:spTree>
    <p:extLst>
      <p:ext uri="{BB962C8B-B14F-4D97-AF65-F5344CB8AC3E}">
        <p14:creationId xmlns:p14="http://schemas.microsoft.com/office/powerpoint/2010/main" val="42852513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1277681034"/>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1675816246"/>
              </p:ext>
            </p:extLst>
          </p:nvPr>
        </p:nvGraphicFramePr>
        <p:xfrm>
          <a:off x="470844" y="476250"/>
          <a:ext cx="11252195" cy="6734520"/>
        </p:xfrm>
        <a:graphic>
          <a:graphicData uri="http://schemas.openxmlformats.org/drawingml/2006/table">
            <a:tbl>
              <a:tblPr firstRow="1" bandRow="1">
                <a:tableStyleId>{5C22544A-7EE6-4342-B048-85BDC9FD1C3A}</a:tableStyleId>
              </a:tblPr>
              <a:tblGrid>
                <a:gridCol w="2250439">
                  <a:extLst>
                    <a:ext uri="{9D8B030D-6E8A-4147-A177-3AD203B41FA5}">
                      <a16:colId xmlns:a16="http://schemas.microsoft.com/office/drawing/2014/main" val="2010582758"/>
                    </a:ext>
                  </a:extLst>
                </a:gridCol>
                <a:gridCol w="2250439">
                  <a:extLst>
                    <a:ext uri="{9D8B030D-6E8A-4147-A177-3AD203B41FA5}">
                      <a16:colId xmlns:a16="http://schemas.microsoft.com/office/drawing/2014/main" val="3881206508"/>
                    </a:ext>
                  </a:extLst>
                </a:gridCol>
                <a:gridCol w="2250439">
                  <a:extLst>
                    <a:ext uri="{9D8B030D-6E8A-4147-A177-3AD203B41FA5}">
                      <a16:colId xmlns:a16="http://schemas.microsoft.com/office/drawing/2014/main" val="2356519941"/>
                    </a:ext>
                  </a:extLst>
                </a:gridCol>
                <a:gridCol w="2250439">
                  <a:extLst>
                    <a:ext uri="{9D8B030D-6E8A-4147-A177-3AD203B41FA5}">
                      <a16:colId xmlns:a16="http://schemas.microsoft.com/office/drawing/2014/main" val="1209552632"/>
                    </a:ext>
                  </a:extLst>
                </a:gridCol>
                <a:gridCol w="2250439">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31015945"/>
                  </a:ext>
                </a:extLst>
              </a:tr>
              <a:tr h="901526">
                <a:tc>
                  <a:txBody>
                    <a:bodyPr/>
                    <a:lstStyle/>
                    <a:p>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Definition </a:t>
                      </a:r>
                      <a:endParaRPr lang="en-GB" sz="1400" b="0" i="1" kern="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sym typeface="Arial" panose="020B0604020202020204" pitchFamily="34" charset="0"/>
                      </a:endParaRPr>
                    </a:p>
                  </a:txBody>
                  <a:tcPr marL="108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91440" indent="-171450" algn="l" defTabSz="1219170" rtl="0" eaLnBrk="1" fontAlgn="t" latinLnBrk="0" hangingPunct="1">
                        <a:lnSpc>
                          <a:spcPct val="100000"/>
                        </a:lnSpc>
                        <a:spcBef>
                          <a:spcPts val="0"/>
                        </a:spcBef>
                        <a:spcAft>
                          <a:spcPts val="3195"/>
                        </a:spcAft>
                        <a:buFont typeface="Arial" panose="020B0604020202020204" pitchFamily="34" charset="0"/>
                        <a:buChar char="•"/>
                      </a:pPr>
                      <a:r>
                        <a:rPr lang="en-US" sz="1000" b="1" kern="1200">
                          <a:solidFill>
                            <a:schemeClr val="tx1"/>
                          </a:solidFill>
                          <a:latin typeface="+mn-lt"/>
                          <a:ea typeface="+mn-ea"/>
                          <a:cs typeface="+mn-cs"/>
                        </a:rPr>
                        <a:t>Able to identify problem statements and employ critical thinking to support solving business problems</a:t>
                      </a:r>
                      <a:endParaRPr lang="en-US" sz="1000" b="1" kern="1200" dirty="0">
                        <a:solidFill>
                          <a:schemeClr val="tx1"/>
                        </a:solidFill>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68580" indent="-171450" algn="l" defTabSz="1219170" rtl="0" eaLnBrk="1" fontAlgn="t" latinLnBrk="0" hangingPunct="1">
                        <a:lnSpc>
                          <a:spcPct val="100000"/>
                        </a:lnSpc>
                        <a:spcBef>
                          <a:spcPts val="0"/>
                        </a:spcBef>
                        <a:spcAft>
                          <a:spcPts val="1035"/>
                        </a:spcAft>
                        <a:buFont typeface="Arial" panose="020B0604020202020204" pitchFamily="34" charset="0"/>
                        <a:buChar char="•"/>
                      </a:pPr>
                      <a:r>
                        <a:rPr lang="en-US" sz="1000" b="1" kern="1200">
                          <a:solidFill>
                            <a:schemeClr val="tx1"/>
                          </a:solidFill>
                          <a:latin typeface="+mn-lt"/>
                          <a:ea typeface="+mn-ea"/>
                          <a:cs typeface="+mn-cs"/>
                        </a:rPr>
                        <a:t>Articulates business problems well and approaches problems from a strategic mindset to solve with appropriate recommendations</a:t>
                      </a:r>
                      <a:endParaRPr lang="en-US" sz="1000" b="1" kern="1200" dirty="0">
                        <a:solidFill>
                          <a:schemeClr val="tx1"/>
                        </a:solidFill>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1219170" rtl="0" eaLnBrk="1" fontAlgn="t" latinLnBrk="0" hangingPunct="1">
                        <a:lnSpc>
                          <a:spcPct val="100000"/>
                        </a:lnSpc>
                        <a:spcBef>
                          <a:spcPts val="0"/>
                        </a:spcBef>
                        <a:spcAft>
                          <a:spcPts val="1030"/>
                        </a:spcAft>
                        <a:buFont typeface="Arial" panose="020B0604020202020204" pitchFamily="34" charset="0"/>
                        <a:buChar char="•"/>
                      </a:pPr>
                      <a:r>
                        <a:rPr lang="en-US" sz="1000" b="1" kern="1200">
                          <a:solidFill>
                            <a:schemeClr val="tx1"/>
                          </a:solidFill>
                          <a:latin typeface="+mn-lt"/>
                          <a:ea typeface="+mn-ea"/>
                          <a:cs typeface="+mn-cs"/>
                        </a:rPr>
                        <a:t>Demonstrates a strategic and proactive mindset in articulating and solving complex business issues</a:t>
                      </a:r>
                      <a:endParaRPr lang="en-US" sz="1000" b="1" kern="1200" dirty="0">
                        <a:solidFill>
                          <a:schemeClr val="tx1"/>
                        </a:solidFill>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1219170" rtl="0" eaLnBrk="1" fontAlgn="t" latinLnBrk="0" hangingPunct="1">
                        <a:lnSpc>
                          <a:spcPct val="100000"/>
                        </a:lnSpc>
                        <a:spcBef>
                          <a:spcPts val="0"/>
                        </a:spcBef>
                        <a:spcAft>
                          <a:spcPts val="2110"/>
                        </a:spcAft>
                        <a:buFont typeface="Arial" panose="020B0604020202020204" pitchFamily="34" charset="0"/>
                        <a:buChar char="•"/>
                      </a:pPr>
                      <a:r>
                        <a:rPr lang="en-US" sz="1000" b="1" kern="1200">
                          <a:solidFill>
                            <a:schemeClr val="tx1"/>
                          </a:solidFill>
                          <a:latin typeface="+mn-lt"/>
                          <a:ea typeface="+mn-ea"/>
                          <a:cs typeface="+mn-cs"/>
                        </a:rPr>
                        <a:t>Leads diverse teams to solve highly complex business problems through strategic and innovative thinking that creates value in highly competitive business landscapes</a:t>
                      </a:r>
                      <a:endParaRPr lang="en-US" sz="1000" b="1" kern="1200" dirty="0">
                        <a:solidFill>
                          <a:schemeClr val="tx1"/>
                        </a:solidFill>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oblem &amp; opportunity identifica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lnSpc>
                          <a:spcPct val="100000"/>
                        </a:lnSpc>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Learns how to recognize specific business problems along with the nature/criticality of the problem</a:t>
                      </a:r>
                    </a:p>
                    <a:p>
                      <a:pPr marL="171450" indent="-171450" algn="l" defTabSz="1219170" rtl="0" eaLnBrk="1" fontAlgn="t" latinLnBrk="0" hangingPunct="1">
                        <a:lnSpc>
                          <a:spcPct val="100000"/>
                        </a:lnSpc>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fines the basic aspects of the stated problem</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ble to promptly recognize the real business problem from data or issues available</a:t>
                      </a:r>
                      <a:b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b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rticulates the problem statement in a clear and concise manner that can be interpreted uniformly</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Anticipates, identifies and articulates the most critical business problems in a proactive and detailed manner that captures specific nuances of the issues</a:t>
                      </a:r>
                    </a:p>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Gains alignment from internal and external stakeholders on the validity of the problem by articulating root causes</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intellectual curiosity to identify non-defined/non-stated problems through analyzing critical and recurring patterns/themes</a:t>
                      </a:r>
                    </a:p>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Guides teams through the life cycle of problem identification and articulation proactively building buy-in from all internal and external stakeholders</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tructuring the problem</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lnSpc>
                          <a:spcPct val="100000"/>
                        </a:lnSpc>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pproaches solving business problems by breaking them down into components</a:t>
                      </a:r>
                    </a:p>
                    <a:p>
                      <a:pPr marL="171450" indent="-171450" algn="l" defTabSz="1219170" rtl="0" eaLnBrk="1" fontAlgn="t" latinLnBrk="0" hangingPunct="1">
                        <a:lnSpc>
                          <a:spcPct val="100000"/>
                        </a:lnSpc>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pplies knowledge of standard processes/methodologies that support the team in recommending solutions that work</a:t>
                      </a:r>
                    </a:p>
                    <a:p>
                      <a:pPr marL="0" indent="0" algn="l" defTabSz="1219170" rtl="0" eaLnBrk="1" fontAlgn="t" latinLnBrk="0" hangingPunct="1">
                        <a:lnSpc>
                          <a:spcPct val="100000"/>
                        </a:lnSpc>
                        <a:buFont typeface="Arial" panose="020B0604020202020204" pitchFamily="34" charset="0"/>
                        <a:buNone/>
                      </a:pP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dentifies possible explanations and alternatives to solve a problem and defines valid solutions </a:t>
                      </a:r>
                    </a:p>
                    <a:p>
                      <a:pPr marL="171450" indent="-171450" algn="l" rtl="0" fontAlgn="t">
                        <a:lnSpc>
                          <a:spcPct val="100000"/>
                        </a:lnSpc>
                        <a:spcAft>
                          <a:spcPts val="600"/>
                        </a:spcAft>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mploys multiple problem-solving approaches after consulting experts and all available reference data</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esents problem analysis, recommends solutions after evaluating all the pros and cons and develops strategic contingency plans</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Validates recommendations/ideas proposed by teams and provides them with the vision for solutions</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Operates with strategic rigor towards problem-solving leading to design of new/enhanced approaches, systems, structures, and methods for solving complex business problems</a:t>
                      </a:r>
                    </a:p>
                    <a:p>
                      <a:pPr marL="171450" indent="-171450" algn="l" rtl="0" fontAlgn="t">
                        <a:lnSpc>
                          <a:spcPct val="100000"/>
                        </a:lnSpc>
                        <a:spcAft>
                          <a:spcPts val="600"/>
                        </a:spcAft>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Masters decision making even with incomplete data</a:t>
                      </a:r>
                    </a:p>
                    <a:p>
                      <a:pPr marL="171450" indent="-171450" algn="l" rtl="0" fontAlgn="t">
                        <a:lnSpc>
                          <a:spcPct val="100000"/>
                        </a:lnSpc>
                        <a:spcAft>
                          <a:spcPts val="600"/>
                        </a:spcAft>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 Mentors diverse teams to evaluate alternative, effective courses of action</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9216629"/>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trategic thinking &amp; creating a purpose</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itiates analysis of problems objectively by considering facts,  relevant professional standards or research, data and differing perspectives to support solutioning</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valuates problem(s) objectively considering facts,  relevant professional standards or research,  data, experience and differing perspectives and develops a comprehensive picture of the problem</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s able to connect the dots by correlating information and scrutinizing/evaluating compelling arguments</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oactively and effectively evaluates problems objectively, separates the cause from symptoms and considers views of multiple, diverse stakeholders </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mploys techniques to connect the dots that enable robust recommendations/solutions</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Identifies and considers emerging developments, opportunities and risks when articulating new options and recommendations for a strategy</a:t>
                      </a:r>
                    </a:p>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Guides diverse teams to build/enhance their ability to connect the dots</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778363"/>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844" y="0"/>
            <a:ext cx="11517718" cy="338328"/>
          </a:xfrm>
        </p:spPr>
        <p:txBody>
          <a:bodyPr vert="horz"/>
          <a:lstStyle/>
          <a:p>
            <a:r>
              <a:rPr lang="en-US" sz="2903" dirty="0">
                <a:solidFill>
                  <a:schemeClr val="accent3"/>
                </a:solidFill>
              </a:rPr>
              <a:t>Professional competency| </a:t>
            </a:r>
            <a:r>
              <a:rPr lang="en-US" sz="2903" dirty="0">
                <a:solidFill>
                  <a:schemeClr val="tx1"/>
                </a:solidFill>
              </a:rPr>
              <a:t>Problem Solving &amp; concepts</a:t>
            </a:r>
            <a:endParaRPr lang="en-US" sz="2903" b="0" i="1" dirty="0">
              <a:solidFill>
                <a:schemeClr val="tx1"/>
              </a:solidFill>
            </a:endParaRPr>
          </a:p>
        </p:txBody>
      </p:sp>
    </p:spTree>
    <p:extLst>
      <p:ext uri="{BB962C8B-B14F-4D97-AF65-F5344CB8AC3E}">
        <p14:creationId xmlns:p14="http://schemas.microsoft.com/office/powerpoint/2010/main" val="32547841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2848487901"/>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2629633107"/>
              </p:ext>
            </p:extLst>
          </p:nvPr>
        </p:nvGraphicFramePr>
        <p:xfrm>
          <a:off x="470844" y="476250"/>
          <a:ext cx="11252195" cy="6353520"/>
        </p:xfrm>
        <a:graphic>
          <a:graphicData uri="http://schemas.openxmlformats.org/drawingml/2006/table">
            <a:tbl>
              <a:tblPr firstRow="1" bandRow="1">
                <a:tableStyleId>{5C22544A-7EE6-4342-B048-85BDC9FD1C3A}</a:tableStyleId>
              </a:tblPr>
              <a:tblGrid>
                <a:gridCol w="2250439">
                  <a:extLst>
                    <a:ext uri="{9D8B030D-6E8A-4147-A177-3AD203B41FA5}">
                      <a16:colId xmlns:a16="http://schemas.microsoft.com/office/drawing/2014/main" val="2010582758"/>
                    </a:ext>
                  </a:extLst>
                </a:gridCol>
                <a:gridCol w="2250439">
                  <a:extLst>
                    <a:ext uri="{9D8B030D-6E8A-4147-A177-3AD203B41FA5}">
                      <a16:colId xmlns:a16="http://schemas.microsoft.com/office/drawing/2014/main" val="3881206508"/>
                    </a:ext>
                  </a:extLst>
                </a:gridCol>
                <a:gridCol w="2250439">
                  <a:extLst>
                    <a:ext uri="{9D8B030D-6E8A-4147-A177-3AD203B41FA5}">
                      <a16:colId xmlns:a16="http://schemas.microsoft.com/office/drawing/2014/main" val="2356519941"/>
                    </a:ext>
                  </a:extLst>
                </a:gridCol>
                <a:gridCol w="2250439">
                  <a:extLst>
                    <a:ext uri="{9D8B030D-6E8A-4147-A177-3AD203B41FA5}">
                      <a16:colId xmlns:a16="http://schemas.microsoft.com/office/drawing/2014/main" val="1209552632"/>
                    </a:ext>
                  </a:extLst>
                </a:gridCol>
                <a:gridCol w="2250439">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31015945"/>
                  </a:ext>
                </a:extLst>
              </a:tr>
              <a:tr h="901526">
                <a:tc>
                  <a:txBody>
                    <a:bodyPr/>
                    <a:lstStyle/>
                    <a:p>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Definition </a:t>
                      </a:r>
                      <a:endParaRPr lang="en-GB" sz="1400" b="1" i="1" kern="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sym typeface="Arial" panose="020B0604020202020204" pitchFamily="34" charset="0"/>
                      </a:endParaRPr>
                    </a:p>
                  </a:txBody>
                  <a:tcPr marL="108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nderstands what is fundamental to Rewire’s success as a business </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Offers insights based on a solid understanding of what makes Rewire successful</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akes informed decisions which positively impact sustainable financial performance and enhance quality</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akes judgements on what will make the most effective use of resources to optimize value</a:t>
                      </a:r>
                    </a:p>
                    <a:p>
                      <a:pPr marL="171450" marR="0" lvl="0" indent="-171450" algn="l" defTabSz="914355"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ctively manages the business to deliver maximum value to Rewire and to external stakeholder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70143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anaging risk</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lgn="l" rtl="0" fontAlgn="ctr">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Has antennae/feelers for potential risks, challenges or other project blockers at client or internal side and shares it with project team</a:t>
                      </a:r>
                      <a:br>
                        <a:rPr lang="en-US" sz="1000" b="0" i="0" u="none" strike="noStrike" dirty="0">
                          <a:solidFill>
                            <a:srgbClr val="292929"/>
                          </a:solidFill>
                          <a:effectLst/>
                          <a:latin typeface="Arial" panose="020B0604020202020204" pitchFamily="34" charset="0"/>
                          <a:cs typeface="Arial" panose="020B0604020202020204" pitchFamily="34" charset="0"/>
                          <a:sym typeface="Arial" panose="020B0604020202020204" pitchFamily="34" charset="0"/>
                        </a:rPr>
                      </a:br>
                      <a:endParaRPr lang="en-US" sz="1000" b="0" i="0" u="none" strike="noStrike" dirty="0">
                        <a:solidFill>
                          <a:srgbClr val="292929"/>
                        </a:solidFill>
                        <a:effectLst/>
                        <a:latin typeface="Arial" panose="020B0604020202020204" pitchFamily="34" charset="0"/>
                        <a:cs typeface="Arial" panose="020B0604020202020204" pitchFamily="34" charset="0"/>
                        <a:sym typeface="Arial" panose="020B0604020202020204" pitchFamily="34" charset="0"/>
                      </a:endParaRPr>
                    </a:p>
                  </a:txBody>
                  <a:tcPr marL="65317"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indent="-177800" algn="l" rtl="0" fontAlgn="ctr">
                        <a:buFont typeface="Arial" panose="020B0604020202020204" pitchFamily="34" charset="0"/>
                        <a:buChar char="•"/>
                      </a:pPr>
                      <a:r>
                        <a:rPr lang="en-US" sz="1000" b="0" i="0" u="none" strike="noStrike">
                          <a:solidFill>
                            <a:srgbClr val="292929"/>
                          </a:solidFill>
                          <a:effectLst/>
                          <a:latin typeface="Arial" panose="020B0604020202020204" pitchFamily="34" charset="0"/>
                          <a:cs typeface="Arial" panose="020B0604020202020204" pitchFamily="34" charset="0"/>
                          <a:sym typeface="Arial" panose="020B0604020202020204" pitchFamily="34" charset="0"/>
                        </a:rPr>
                        <a:t>Is able to identify dependencies and potential risks and blockers - and escalates this in the team</a:t>
                      </a:r>
                      <a:endParaRPr lang="en-US" sz="1000" b="0" i="0" u="none" strike="noStrike" dirty="0">
                        <a:solidFill>
                          <a:srgbClr val="292929"/>
                        </a:solidFill>
                        <a:effectLst/>
                        <a:latin typeface="Arial" panose="020B0604020202020204" pitchFamily="34" charset="0"/>
                        <a:cs typeface="Arial" panose="020B0604020202020204" pitchFamily="34" charset="0"/>
                        <a:sym typeface="Arial" panose="020B0604020202020204" pitchFamily="34" charset="0"/>
                      </a:endParaRPr>
                    </a:p>
                  </a:txBody>
                  <a:tcPr marL="65317"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indent="-177800" algn="l" rtl="0" fontAlgn="ctr">
                        <a:buFont typeface="Arial" panose="020B0604020202020204" pitchFamily="34" charset="0"/>
                        <a:buChar char="•"/>
                      </a:pPr>
                      <a:r>
                        <a:rPr lang="en-US" sz="1000" b="0" i="0" u="none" strike="noStrike">
                          <a:solidFill>
                            <a:srgbClr val="292929"/>
                          </a:solidFill>
                          <a:effectLst/>
                          <a:latin typeface="Arial" panose="020B0604020202020204" pitchFamily="34" charset="0"/>
                          <a:cs typeface="Arial" panose="020B0604020202020204" pitchFamily="34" charset="0"/>
                          <a:sym typeface="Arial" panose="020B0604020202020204" pitchFamily="34" charset="0"/>
                        </a:rPr>
                        <a:t>Is able to identify dependencies and potential risks and blockers - in the context of the project; intervenes efficiently with the help of partner/principal</a:t>
                      </a:r>
                      <a:endParaRPr lang="en-US" sz="1000" b="0" i="0" u="none" strike="noStrike" dirty="0">
                        <a:solidFill>
                          <a:srgbClr val="292929"/>
                        </a:solidFill>
                        <a:effectLst/>
                        <a:latin typeface="Arial" panose="020B0604020202020204" pitchFamily="34" charset="0"/>
                        <a:cs typeface="Arial" panose="020B0604020202020204" pitchFamily="34" charset="0"/>
                        <a:sym typeface="Arial" panose="020B0604020202020204" pitchFamily="34" charset="0"/>
                      </a:endParaRPr>
                    </a:p>
                  </a:txBody>
                  <a:tcPr marL="65317"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914355" rtl="0" eaLnBrk="1" fontAlgn="t" latinLnBrk="0" hangingPunct="1">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oactively manages dependencies and risks; aligns with client to ensure risk are knows and acted on accordingly</a:t>
                      </a:r>
                    </a:p>
                  </a:txBody>
                  <a:tcPr marL="65317"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103417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anaging quality</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lnSpc>
                          <a:spcPct val="100000"/>
                        </a:lnSpc>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monstrates curiosity to understand what makes Rewire distinctive against the competitive landscape </a:t>
                      </a:r>
                    </a:p>
                    <a:p>
                      <a:pPr marL="171450" indent="-171450" algn="l" defTabSz="1219170" rtl="0" eaLnBrk="1" fontAlgn="t" latinLnBrk="0" hangingPunct="1">
                        <a:lnSpc>
                          <a:spcPct val="100000"/>
                        </a:lnSpc>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livers high quality output of own activities; performs sanity checks from analytical and business perspective</a:t>
                      </a:r>
                    </a:p>
                    <a:p>
                      <a:pPr marL="0" indent="0" algn="l" defTabSz="1219170" rtl="0" eaLnBrk="1" fontAlgn="t" latinLnBrk="0" hangingPunct="1">
                        <a:lnSpc>
                          <a:spcPct val="100000"/>
                        </a:lnSpc>
                        <a:buFont typeface="Arial" panose="020B0604020202020204" pitchFamily="34" charset="0"/>
                        <a:buNone/>
                      </a:pP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pplies understanding of the competitive landscape to bring new insights, and informs the team </a:t>
                      </a:r>
                    </a:p>
                    <a:p>
                      <a:pPr marL="171450" indent="-171450" algn="l" rtl="0" fontAlgn="t">
                        <a:lnSpc>
                          <a:spcPct val="100000"/>
                        </a:lnSpc>
                        <a:spcAft>
                          <a:spcPts val="600"/>
                        </a:spcAft>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anages the quality of the output that is being delivered - within the workstream</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pplies and shares understanding of key trends and competitors to promote adoption of leading practices</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anages the quality of the output that is being delivered - within the workstream</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nderstands the business strategies of competitors and can anticipate and plan for strategic moves  </a:t>
                      </a:r>
                    </a:p>
                    <a:p>
                      <a:pPr marL="171450" indent="-171450" algn="l" rtl="0" fontAlgn="t">
                        <a:lnSpc>
                          <a:spcPct val="100000"/>
                        </a:lnSpc>
                        <a:spcAft>
                          <a:spcPts val="600"/>
                        </a:spcAft>
                        <a:buFont typeface="Arial" panose="020B0604020202020204" pitchFamily="34" charset="0"/>
                        <a:buChar char="•"/>
                      </a:pP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9216629"/>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eing compliant with regulations</a:t>
                      </a: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mpletes all training and other compliance obligations on a timely basis ;Acts in projects conform the Compliance codes of conduct</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ses Rewire templates and house style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mpletes all training and other compliance obligations, including professional certifications, if applicable,  on a timely basis</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cts in projects conform the Compliance codes of conduc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mpletes all training and other compliance obligations, including professional certifications, if applicable, on proactive and timely basis along with guiding team(s) for the same</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Understands commercial construct and the importance of using correct template for mandatory and regulatory aspects (e.g., Proposal Letter, contract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778363"/>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thical awareness</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lnSpc>
                          <a:spcPct val="100000"/>
                        </a:lnSpc>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ware of business implications and responsibilities of technological tools/data and resources leveraged for operations and is mindful of leveraging them ethically</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nderstands the relevance of and leverages appropriate technological tools, data and resources for operations</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mploys judgment and </a:t>
                      </a:r>
                      <a:r>
                        <a:rPr lang="en-US" sz="1000" b="0" i="0" u="none" strike="noStrike" kern="1200" dirty="0" err="1">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Rewire's</a:t>
                      </a: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guidelines to leverage technology/data responsibly and ethically</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US"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Guides team(s) to adopt technological tools, frameworks and resources for operations/delivery that safeguards stakeholders' and Rewire's trusted brand through "ethical tech" </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Champions "ethical tech" practices and mindset for teams to deploy tools, data and resources enabling operations/delivery</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27495548"/>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844" y="0"/>
            <a:ext cx="11517718" cy="338328"/>
          </a:xfrm>
        </p:spPr>
        <p:txBody>
          <a:bodyPr vert="horz"/>
          <a:lstStyle/>
          <a:p>
            <a:r>
              <a:rPr lang="en-US" sz="2903" dirty="0">
                <a:solidFill>
                  <a:schemeClr val="accent3"/>
                </a:solidFill>
              </a:rPr>
              <a:t>Professional competency| </a:t>
            </a:r>
            <a:r>
              <a:rPr lang="nl-NL" sz="2903" dirty="0" err="1">
                <a:solidFill>
                  <a:schemeClr val="tx1"/>
                </a:solidFill>
                <a:ea typeface="Roboto Light" panose="02000000000000000000" pitchFamily="2" charset="0"/>
              </a:rPr>
              <a:t>Quality</a:t>
            </a:r>
            <a:r>
              <a:rPr lang="nl-NL" sz="2903" dirty="0">
                <a:solidFill>
                  <a:schemeClr val="tx1"/>
                </a:solidFill>
                <a:ea typeface="Roboto Light" panose="02000000000000000000" pitchFamily="2" charset="0"/>
              </a:rPr>
              <a:t>, risk &amp; compliance</a:t>
            </a:r>
            <a:endParaRPr lang="en-US" sz="2903" b="0" i="1" dirty="0">
              <a:solidFill>
                <a:schemeClr val="tx1"/>
              </a:solidFill>
            </a:endParaRPr>
          </a:p>
        </p:txBody>
      </p:sp>
    </p:spTree>
    <p:extLst>
      <p:ext uri="{BB962C8B-B14F-4D97-AF65-F5344CB8AC3E}">
        <p14:creationId xmlns:p14="http://schemas.microsoft.com/office/powerpoint/2010/main" val="14978769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700DFF-887B-5788-1D69-C151EAA5680E}"/>
              </a:ext>
            </a:extLst>
          </p:cNvPr>
          <p:cNvGraphicFramePr>
            <a:graphicFrameLocks noChangeAspect="1"/>
          </p:cNvGraphicFramePr>
          <p:nvPr>
            <p:custDataLst>
              <p:tags r:id="rId1"/>
            </p:custData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3F700DFF-887B-5788-1D69-C151EAA5680E}"/>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sp>
        <p:nvSpPr>
          <p:cNvPr id="2" name="Tijdelijke aanduiding voor voettekst 1">
            <a:extLst>
              <a:ext uri="{FF2B5EF4-FFF2-40B4-BE49-F238E27FC236}">
                <a16:creationId xmlns:a16="http://schemas.microsoft.com/office/drawing/2014/main" id="{F3A1E033-4A6F-E2CC-D107-7559B3BA1969}"/>
              </a:ext>
            </a:extLst>
          </p:cNvPr>
          <p:cNvSpPr>
            <a:spLocks noGrp="1"/>
          </p:cNvSpPr>
          <p:nvPr>
            <p:ph type="ftr" sz="quarter" idx="3"/>
          </p:nvPr>
        </p:nvSpPr>
        <p:spPr/>
        <p:txBody>
          <a:bodyPr/>
          <a:lstStyle/>
          <a:p>
            <a:r>
              <a:rPr lang="en-US" dirty="0"/>
              <a:t>Rewire.nl | Scaling impact from Data &amp; AI</a:t>
            </a:r>
          </a:p>
        </p:txBody>
      </p:sp>
      <p:sp>
        <p:nvSpPr>
          <p:cNvPr id="4" name="Rechthoek: afgeronde hoeken 3">
            <a:extLst>
              <a:ext uri="{FF2B5EF4-FFF2-40B4-BE49-F238E27FC236}">
                <a16:creationId xmlns:a16="http://schemas.microsoft.com/office/drawing/2014/main" id="{1DB51A5E-6573-7871-3CCC-2DDC9CF14379}"/>
              </a:ext>
            </a:extLst>
          </p:cNvPr>
          <p:cNvSpPr/>
          <p:nvPr/>
        </p:nvSpPr>
        <p:spPr>
          <a:xfrm>
            <a:off x="715745" y="2779064"/>
            <a:ext cx="10488625" cy="691273"/>
          </a:xfrm>
          <a:prstGeom prst="roundRect">
            <a:avLst>
              <a:gd name="adj" fmla="val 0"/>
            </a:avLst>
          </a:prstGeom>
          <a:solidFill>
            <a:schemeClr val="bg1"/>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marL="491102"/>
            <a:r>
              <a:rPr lang="en-US" sz="1800" b="1" dirty="0">
                <a:latin typeface="Arial" panose="020B0604020202020204" pitchFamily="34" charset="0"/>
                <a:cs typeface="Arial" panose="020B0604020202020204" pitchFamily="34" charset="0"/>
                <a:sym typeface="Arial" panose="020B0604020202020204" pitchFamily="34" charset="0"/>
              </a:rPr>
              <a:t>Transparency on your growth path</a:t>
            </a:r>
          </a:p>
        </p:txBody>
      </p:sp>
      <p:sp>
        <p:nvSpPr>
          <p:cNvPr id="7" name="Rechthoek: afgeronde hoeken 6">
            <a:extLst>
              <a:ext uri="{FF2B5EF4-FFF2-40B4-BE49-F238E27FC236}">
                <a16:creationId xmlns:a16="http://schemas.microsoft.com/office/drawing/2014/main" id="{227A7C3F-B047-B093-3488-03B25CF5743C}"/>
              </a:ext>
            </a:extLst>
          </p:cNvPr>
          <p:cNvSpPr/>
          <p:nvPr/>
        </p:nvSpPr>
        <p:spPr>
          <a:xfrm>
            <a:off x="5418164" y="2828299"/>
            <a:ext cx="5683797" cy="592803"/>
          </a:xfrm>
          <a:prstGeom prst="roundRect">
            <a:avLst>
              <a:gd name="adj" fmla="val 0"/>
            </a:avLst>
          </a:prstGeom>
          <a:solidFill>
            <a:schemeClr val="bg1"/>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nSpc>
                <a:spcPts val="1633"/>
              </a:lnSpc>
            </a:pPr>
            <a:r>
              <a:rPr lang="en-US" sz="1452">
                <a:latin typeface="Arial" panose="020B0604020202020204" pitchFamily="34" charset="0"/>
                <a:cs typeface="Arial" panose="020B0604020202020204" pitchFamily="34" charset="0"/>
                <a:sym typeface="Arial" panose="020B0604020202020204" pitchFamily="34" charset="0"/>
              </a:rPr>
              <a:t>Clear outline of the knowledge, skills, behaviors, and attributes </a:t>
            </a:r>
            <a:r>
              <a:rPr lang="en-US" sz="1452" b="1">
                <a:latin typeface="Arial" panose="020B0604020202020204" pitchFamily="34" charset="0"/>
                <a:cs typeface="Arial" panose="020B0604020202020204" pitchFamily="34" charset="0"/>
                <a:sym typeface="Arial" panose="020B0604020202020204" pitchFamily="34" charset="0"/>
              </a:rPr>
              <a:t>required</a:t>
            </a:r>
            <a:r>
              <a:rPr lang="en-US" sz="1452">
                <a:latin typeface="Arial" panose="020B0604020202020204" pitchFamily="34" charset="0"/>
                <a:cs typeface="Arial" panose="020B0604020202020204" pitchFamily="34" charset="0"/>
                <a:sym typeface="Arial" panose="020B0604020202020204" pitchFamily="34" charset="0"/>
              </a:rPr>
              <a:t> for </a:t>
            </a:r>
            <a:r>
              <a:rPr lang="en-US" sz="1452" b="1">
                <a:latin typeface="Arial" panose="020B0604020202020204" pitchFamily="34" charset="0"/>
                <a:cs typeface="Arial" panose="020B0604020202020204" pitchFamily="34" charset="0"/>
                <a:sym typeface="Arial" panose="020B0604020202020204" pitchFamily="34" charset="0"/>
              </a:rPr>
              <a:t>success</a:t>
            </a:r>
            <a:r>
              <a:rPr lang="en-US" sz="1452">
                <a:latin typeface="Arial" panose="020B0604020202020204" pitchFamily="34" charset="0"/>
                <a:cs typeface="Arial" panose="020B0604020202020204" pitchFamily="34" charset="0"/>
                <a:sym typeface="Arial" panose="020B0604020202020204" pitchFamily="34" charset="0"/>
              </a:rPr>
              <a:t> in a particular role in </a:t>
            </a:r>
            <a:r>
              <a:rPr lang="en-US" sz="1452" dirty="0">
                <a:latin typeface="Arial" panose="020B0604020202020204" pitchFamily="34" charset="0"/>
                <a:cs typeface="Arial" panose="020B0604020202020204" pitchFamily="34" charset="0"/>
                <a:sym typeface="Arial" panose="020B0604020202020204" pitchFamily="34" charset="0"/>
              </a:rPr>
              <a:t>Rewire</a:t>
            </a:r>
            <a:endParaRPr lang="en-US" sz="1452">
              <a:latin typeface="Arial" panose="020B0604020202020204" pitchFamily="34" charset="0"/>
              <a:cs typeface="Arial" panose="020B0604020202020204" pitchFamily="34" charset="0"/>
              <a:sym typeface="Arial" panose="020B0604020202020204" pitchFamily="34" charset="0"/>
            </a:endParaRPr>
          </a:p>
        </p:txBody>
      </p:sp>
      <p:sp>
        <p:nvSpPr>
          <p:cNvPr id="10" name="Rechthoek: afgeronde hoeken 9">
            <a:extLst>
              <a:ext uri="{FF2B5EF4-FFF2-40B4-BE49-F238E27FC236}">
                <a16:creationId xmlns:a16="http://schemas.microsoft.com/office/drawing/2014/main" id="{8ED1A450-BB7E-2650-E6D9-BBDFA36455F2}"/>
              </a:ext>
            </a:extLst>
          </p:cNvPr>
          <p:cNvSpPr/>
          <p:nvPr/>
        </p:nvSpPr>
        <p:spPr>
          <a:xfrm>
            <a:off x="715745" y="3997340"/>
            <a:ext cx="10488625" cy="691273"/>
          </a:xfrm>
          <a:prstGeom prst="roundRect">
            <a:avLst>
              <a:gd name="adj" fmla="val 0"/>
            </a:avLst>
          </a:prstGeom>
          <a:solidFill>
            <a:schemeClr val="bg1"/>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marL="491102"/>
            <a:r>
              <a:rPr lang="en-US" sz="1800" b="1" dirty="0">
                <a:latin typeface="Arial" panose="020B0604020202020204" pitchFamily="34" charset="0"/>
                <a:cs typeface="Arial" panose="020B0604020202020204" pitchFamily="34" charset="0"/>
                <a:sym typeface="Arial" panose="020B0604020202020204" pitchFamily="34" charset="0"/>
              </a:rPr>
              <a:t>Employee development and training</a:t>
            </a:r>
          </a:p>
        </p:txBody>
      </p:sp>
      <p:sp>
        <p:nvSpPr>
          <p:cNvPr id="11" name="Rechthoek: afgeronde hoeken 10">
            <a:extLst>
              <a:ext uri="{FF2B5EF4-FFF2-40B4-BE49-F238E27FC236}">
                <a16:creationId xmlns:a16="http://schemas.microsoft.com/office/drawing/2014/main" id="{6D8A2266-DAA8-57B3-C0E6-8FB766F8ED52}"/>
              </a:ext>
            </a:extLst>
          </p:cNvPr>
          <p:cNvSpPr/>
          <p:nvPr/>
        </p:nvSpPr>
        <p:spPr>
          <a:xfrm>
            <a:off x="5418164" y="4046575"/>
            <a:ext cx="5683797" cy="592803"/>
          </a:xfrm>
          <a:prstGeom prst="roundRect">
            <a:avLst>
              <a:gd name="adj" fmla="val 0"/>
            </a:avLst>
          </a:prstGeom>
          <a:solidFill>
            <a:schemeClr val="bg1"/>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nSpc>
                <a:spcPts val="1633"/>
              </a:lnSpc>
            </a:pPr>
            <a:r>
              <a:rPr lang="en-US" sz="1452" dirty="0">
                <a:latin typeface="Arial" panose="020B0604020202020204" pitchFamily="34" charset="0"/>
                <a:cs typeface="Arial" panose="020B0604020202020204" pitchFamily="34" charset="0"/>
                <a:sym typeface="Arial" panose="020B0604020202020204" pitchFamily="34" charset="0"/>
              </a:rPr>
              <a:t>Help identify </a:t>
            </a:r>
            <a:r>
              <a:rPr lang="en-US" sz="1452" b="1" dirty="0">
                <a:latin typeface="Arial" panose="020B0604020202020204" pitchFamily="34" charset="0"/>
                <a:cs typeface="Arial" panose="020B0604020202020204" pitchFamily="34" charset="0"/>
                <a:sym typeface="Arial" panose="020B0604020202020204" pitchFamily="34" charset="0"/>
              </a:rPr>
              <a:t>skill gaps, </a:t>
            </a:r>
            <a:r>
              <a:rPr lang="en-US" sz="1452" dirty="0">
                <a:latin typeface="Arial" panose="020B0604020202020204" pitchFamily="34" charset="0"/>
                <a:cs typeface="Arial" panose="020B0604020202020204" pitchFamily="34" charset="0"/>
                <a:sym typeface="Arial" panose="020B0604020202020204" pitchFamily="34" charset="0"/>
              </a:rPr>
              <a:t>development areas and strengths. Provide a </a:t>
            </a:r>
            <a:r>
              <a:rPr lang="en-US" sz="1452" b="1" dirty="0">
                <a:latin typeface="Arial" panose="020B0604020202020204" pitchFamily="34" charset="0"/>
                <a:cs typeface="Arial" panose="020B0604020202020204" pitchFamily="34" charset="0"/>
                <a:sym typeface="Arial" panose="020B0604020202020204" pitchFamily="34" charset="0"/>
              </a:rPr>
              <a:t>roadmap</a:t>
            </a:r>
            <a:r>
              <a:rPr lang="en-US" sz="1452" dirty="0">
                <a:latin typeface="Arial" panose="020B0604020202020204" pitchFamily="34" charset="0"/>
                <a:cs typeface="Arial" panose="020B0604020202020204" pitchFamily="34" charset="0"/>
                <a:sym typeface="Arial" panose="020B0604020202020204" pitchFamily="34" charset="0"/>
              </a:rPr>
              <a:t> for employees and coaches to acquire skills and knowledge </a:t>
            </a:r>
          </a:p>
        </p:txBody>
      </p:sp>
      <p:sp>
        <p:nvSpPr>
          <p:cNvPr id="6" name="Rechthoek: afgeronde hoeken 5">
            <a:extLst>
              <a:ext uri="{FF2B5EF4-FFF2-40B4-BE49-F238E27FC236}">
                <a16:creationId xmlns:a16="http://schemas.microsoft.com/office/drawing/2014/main" id="{2BF1E0BA-13E8-9AF2-405E-3D57815E6DD9}"/>
              </a:ext>
            </a:extLst>
          </p:cNvPr>
          <p:cNvSpPr/>
          <p:nvPr/>
        </p:nvSpPr>
        <p:spPr>
          <a:xfrm>
            <a:off x="715745" y="5052110"/>
            <a:ext cx="10488625" cy="691273"/>
          </a:xfrm>
          <a:prstGeom prst="roundRect">
            <a:avLst>
              <a:gd name="adj" fmla="val 0"/>
            </a:avLst>
          </a:prstGeom>
          <a:solidFill>
            <a:schemeClr val="bg1"/>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marL="491102"/>
            <a:r>
              <a:rPr lang="en-US" sz="1800" b="1" dirty="0">
                <a:latin typeface="Arial" panose="020B0604020202020204" pitchFamily="34" charset="0"/>
                <a:cs typeface="Arial" panose="020B0604020202020204" pitchFamily="34" charset="0"/>
                <a:sym typeface="Arial" panose="020B0604020202020204" pitchFamily="34" charset="0"/>
              </a:rPr>
              <a:t>Performance management</a:t>
            </a:r>
          </a:p>
        </p:txBody>
      </p:sp>
      <p:sp>
        <p:nvSpPr>
          <p:cNvPr id="12" name="Rechthoek: afgeronde hoeken 11">
            <a:extLst>
              <a:ext uri="{FF2B5EF4-FFF2-40B4-BE49-F238E27FC236}">
                <a16:creationId xmlns:a16="http://schemas.microsoft.com/office/drawing/2014/main" id="{7004B96D-B4AF-456C-5160-DAB2BFD264D7}"/>
              </a:ext>
            </a:extLst>
          </p:cNvPr>
          <p:cNvSpPr/>
          <p:nvPr/>
        </p:nvSpPr>
        <p:spPr>
          <a:xfrm>
            <a:off x="5418164" y="5101345"/>
            <a:ext cx="5683797" cy="592803"/>
          </a:xfrm>
          <a:prstGeom prst="roundRect">
            <a:avLst>
              <a:gd name="adj" fmla="val 0"/>
            </a:avLst>
          </a:prstGeom>
          <a:solidFill>
            <a:schemeClr val="bg1"/>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nSpc>
                <a:spcPts val="1633"/>
              </a:lnSpc>
            </a:pPr>
            <a:r>
              <a:rPr lang="en-US" sz="1452">
                <a:latin typeface="Arial" panose="020B0604020202020204" pitchFamily="34" charset="0"/>
                <a:cs typeface="Arial" panose="020B0604020202020204" pitchFamily="34" charset="0"/>
                <a:sym typeface="Arial" panose="020B0604020202020204" pitchFamily="34" charset="0"/>
              </a:rPr>
              <a:t>Serve as a basis for identifying </a:t>
            </a:r>
            <a:r>
              <a:rPr lang="en-US" sz="1452" b="1">
                <a:latin typeface="Arial" panose="020B0604020202020204" pitchFamily="34" charset="0"/>
                <a:cs typeface="Arial" panose="020B0604020202020204" pitchFamily="34" charset="0"/>
                <a:sym typeface="Arial" panose="020B0604020202020204" pitchFamily="34" charset="0"/>
              </a:rPr>
              <a:t>evaluating</a:t>
            </a:r>
            <a:r>
              <a:rPr lang="en-US" sz="1452">
                <a:latin typeface="Arial" panose="020B0604020202020204" pitchFamily="34" charset="0"/>
                <a:cs typeface="Arial" panose="020B0604020202020204" pitchFamily="34" charset="0"/>
                <a:sym typeface="Arial" panose="020B0604020202020204" pitchFamily="34" charset="0"/>
              </a:rPr>
              <a:t> employee performance</a:t>
            </a:r>
          </a:p>
        </p:txBody>
      </p:sp>
      <p:sp>
        <p:nvSpPr>
          <p:cNvPr id="5" name="Rechthoek: afgeronde hoeken 4">
            <a:extLst>
              <a:ext uri="{FF2B5EF4-FFF2-40B4-BE49-F238E27FC236}">
                <a16:creationId xmlns:a16="http://schemas.microsoft.com/office/drawing/2014/main" id="{5776658F-ECEC-CF7F-1BFD-5AD5FF901223}"/>
              </a:ext>
            </a:extLst>
          </p:cNvPr>
          <p:cNvSpPr/>
          <p:nvPr/>
        </p:nvSpPr>
        <p:spPr>
          <a:xfrm>
            <a:off x="715745" y="1578798"/>
            <a:ext cx="10488625" cy="691273"/>
          </a:xfrm>
          <a:prstGeom prst="roundRect">
            <a:avLst>
              <a:gd name="adj" fmla="val 0"/>
            </a:avLst>
          </a:prstGeom>
          <a:solidFill>
            <a:schemeClr val="bg1"/>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marL="491102"/>
            <a:r>
              <a:rPr lang="en-US" sz="1800" b="1" dirty="0">
                <a:latin typeface="Arial" panose="020B0604020202020204" pitchFamily="34" charset="0"/>
                <a:cs typeface="Arial" panose="020B0604020202020204" pitchFamily="34" charset="0"/>
                <a:sym typeface="Arial" panose="020B0604020202020204" pitchFamily="34" charset="0"/>
              </a:rPr>
              <a:t>A benchmark for strategic objectives</a:t>
            </a:r>
          </a:p>
        </p:txBody>
      </p:sp>
      <p:sp>
        <p:nvSpPr>
          <p:cNvPr id="9" name="Rechthoek: afgeronde hoeken 8">
            <a:extLst>
              <a:ext uri="{FF2B5EF4-FFF2-40B4-BE49-F238E27FC236}">
                <a16:creationId xmlns:a16="http://schemas.microsoft.com/office/drawing/2014/main" id="{C6A010DB-8955-8DCA-468B-3C8CEBE2FD0B}"/>
              </a:ext>
            </a:extLst>
          </p:cNvPr>
          <p:cNvSpPr/>
          <p:nvPr/>
        </p:nvSpPr>
        <p:spPr>
          <a:xfrm>
            <a:off x="5418164" y="1628033"/>
            <a:ext cx="5683797" cy="592803"/>
          </a:xfrm>
          <a:prstGeom prst="roundRect">
            <a:avLst>
              <a:gd name="adj" fmla="val 0"/>
            </a:avLst>
          </a:prstGeom>
          <a:solidFill>
            <a:schemeClr val="bg1"/>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nSpc>
                <a:spcPts val="1633"/>
              </a:lnSpc>
            </a:pPr>
            <a:r>
              <a:rPr lang="en-US" sz="1452">
                <a:latin typeface="Arial" panose="020B0604020202020204" pitchFamily="34" charset="0"/>
                <a:cs typeface="Arial" panose="020B0604020202020204" pitchFamily="34" charset="0"/>
                <a:sym typeface="Arial" panose="020B0604020202020204" pitchFamily="34" charset="0"/>
              </a:rPr>
              <a:t>Ensure that the skills and behaviors employees possess align with our </a:t>
            </a:r>
            <a:r>
              <a:rPr lang="en-US" sz="1452" b="1">
                <a:latin typeface="Arial" panose="020B0604020202020204" pitchFamily="34" charset="0"/>
                <a:cs typeface="Arial" panose="020B0604020202020204" pitchFamily="34" charset="0"/>
                <a:sym typeface="Arial" panose="020B0604020202020204" pitchFamily="34" charset="0"/>
              </a:rPr>
              <a:t>strategic goals </a:t>
            </a:r>
            <a:r>
              <a:rPr lang="en-US" sz="1452">
                <a:latin typeface="Arial" panose="020B0604020202020204" pitchFamily="34" charset="0"/>
                <a:cs typeface="Arial" panose="020B0604020202020204" pitchFamily="34" charset="0"/>
                <a:sym typeface="Arial" panose="020B0604020202020204" pitchFamily="34" charset="0"/>
              </a:rPr>
              <a:t>and </a:t>
            </a:r>
            <a:r>
              <a:rPr lang="en-US" sz="1452" b="1">
                <a:latin typeface="Arial" panose="020B0604020202020204" pitchFamily="34" charset="0"/>
                <a:cs typeface="Arial" panose="020B0604020202020204" pitchFamily="34" charset="0"/>
                <a:sym typeface="Arial" panose="020B0604020202020204" pitchFamily="34" charset="0"/>
              </a:rPr>
              <a:t>objectives</a:t>
            </a:r>
          </a:p>
        </p:txBody>
      </p:sp>
      <p:sp>
        <p:nvSpPr>
          <p:cNvPr id="78" name="Text Placeholder 2">
            <a:extLst>
              <a:ext uri="{FF2B5EF4-FFF2-40B4-BE49-F238E27FC236}">
                <a16:creationId xmlns:a16="http://schemas.microsoft.com/office/drawing/2014/main" id="{26C6E7D3-0547-C4DD-5FF1-8BFB9C97BA42}"/>
              </a:ext>
            </a:extLst>
          </p:cNvPr>
          <p:cNvSpPr txBox="1">
            <a:spLocks/>
          </p:cNvSpPr>
          <p:nvPr/>
        </p:nvSpPr>
        <p:spPr>
          <a:xfrm>
            <a:off x="715745" y="292159"/>
            <a:ext cx="10917114" cy="327215"/>
          </a:xfrm>
          <a:prstGeom prst="rect">
            <a:avLst/>
          </a:prstGeom>
        </p:spPr>
        <p:txBody>
          <a:bodyPr/>
          <a:lstStyle>
            <a:lvl1pPr marL="225494" indent="-225494" algn="l" defTabSz="226260" rtl="0" eaLnBrk="1" latinLnBrk="0" hangingPunct="1">
              <a:lnSpc>
                <a:spcPct val="100000"/>
              </a:lnSpc>
              <a:spcBef>
                <a:spcPts val="0"/>
              </a:spcBef>
              <a:buFont typeface="Arial" panose="020B0604020202020204" pitchFamily="34" charset="0"/>
              <a:buChar char="•"/>
              <a:tabLst/>
              <a:defRPr sz="1508" kern="1200">
                <a:solidFill>
                  <a:schemeClr val="tx1"/>
                </a:solidFill>
                <a:latin typeface="+mn-lt"/>
                <a:ea typeface="+mn-ea"/>
                <a:cs typeface="+mn-cs"/>
              </a:defRPr>
            </a:lvl1pPr>
            <a:lvl2pPr marL="448992" indent="-223497"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2pPr>
            <a:lvl3pPr marL="674484" indent="-22549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3pPr>
            <a:lvl4pPr marL="903969" indent="-22948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4pPr>
            <a:lvl5pPr marL="1129461" indent="-22549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5pPr>
            <a:lvl6pPr marL="1133437" marR="0" indent="0" algn="l" defTabSz="226260" rtl="0" eaLnBrk="1" fontAlgn="auto" latinLnBrk="0" hangingPunct="1">
              <a:lnSpc>
                <a:spcPct val="100000"/>
              </a:lnSpc>
              <a:spcBef>
                <a:spcPts val="0"/>
              </a:spcBef>
              <a:spcAft>
                <a:spcPts val="0"/>
              </a:spcAft>
              <a:buClrTx/>
              <a:buSzTx/>
              <a:buFont typeface="Arial" panose="020B0604020202020204" pitchFamily="34" charset="0"/>
              <a:buNone/>
              <a:tabLst/>
              <a:defRPr sz="1508" kern="1200">
                <a:solidFill>
                  <a:schemeClr val="tx1"/>
                </a:solidFill>
                <a:latin typeface="+mn-lt"/>
                <a:ea typeface="+mn-ea"/>
                <a:cs typeface="+mn-cs"/>
              </a:defRPr>
            </a:lvl6pPr>
            <a:lvl7pPr marL="1572444" indent="-21950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7pPr>
            <a:lvl8pPr marL="1807912" indent="-235468"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8pPr>
            <a:lvl9pPr marL="2027415" indent="-21950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9pPr>
          </a:lstStyle>
          <a:p>
            <a:pPr marL="0" indent="0">
              <a:buNone/>
            </a:pPr>
            <a:r>
              <a:rPr lang="en-US" sz="2540" b="1" dirty="0">
                <a:solidFill>
                  <a:schemeClr val="accent6"/>
                </a:solidFill>
                <a:latin typeface="Arial" panose="020B0604020202020204" pitchFamily="34" charset="0"/>
                <a:cs typeface="Arial" panose="020B0604020202020204" pitchFamily="34" charset="0"/>
                <a:sym typeface="Arial" panose="020B0604020202020204" pitchFamily="34" charset="0"/>
              </a:rPr>
              <a:t>WHY|  </a:t>
            </a:r>
            <a:r>
              <a:rPr lang="en-US" sz="2540" b="1" dirty="0">
                <a:latin typeface="Arial" panose="020B0604020202020204" pitchFamily="34" charset="0"/>
                <a:cs typeface="Arial" panose="020B0604020202020204" pitchFamily="34" charset="0"/>
                <a:sym typeface="Arial" panose="020B0604020202020204" pitchFamily="34" charset="0"/>
              </a:rPr>
              <a:t>Four reasons why we now need competency framework</a:t>
            </a:r>
            <a:endParaRPr lang="en-US" sz="1368" dirty="0">
              <a:latin typeface="Arial" panose="020B0604020202020204" pitchFamily="34" charset="0"/>
              <a:cs typeface="Arial" panose="020B0604020202020204" pitchFamily="34" charset="0"/>
              <a:sym typeface="Arial" panose="020B0604020202020204" pitchFamily="34" charset="0"/>
            </a:endParaRPr>
          </a:p>
        </p:txBody>
      </p:sp>
      <p:sp>
        <p:nvSpPr>
          <p:cNvPr id="79" name="Ovaal 78">
            <a:extLst>
              <a:ext uri="{FF2B5EF4-FFF2-40B4-BE49-F238E27FC236}">
                <a16:creationId xmlns:a16="http://schemas.microsoft.com/office/drawing/2014/main" id="{C0B2A38B-D72F-E5C7-EA72-EE815B29BDB6}"/>
              </a:ext>
            </a:extLst>
          </p:cNvPr>
          <p:cNvSpPr/>
          <p:nvPr/>
        </p:nvSpPr>
        <p:spPr>
          <a:xfrm>
            <a:off x="553853" y="2644270"/>
            <a:ext cx="307233" cy="307233"/>
          </a:xfrm>
          <a:prstGeom prst="ellipse">
            <a:avLst/>
          </a:prstGeom>
          <a:solidFill>
            <a:schemeClr val="accent6"/>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089" b="1" dirty="0">
                <a:solidFill>
                  <a:schemeClr val="bg1"/>
                </a:solidFill>
                <a:latin typeface="Arial" panose="020B0604020202020204" pitchFamily="34" charset="0"/>
                <a:cs typeface="Arial" panose="020B0604020202020204" pitchFamily="34" charset="0"/>
                <a:sym typeface="Arial" panose="020B0604020202020204" pitchFamily="34" charset="0"/>
              </a:rPr>
              <a:t>2</a:t>
            </a:r>
          </a:p>
        </p:txBody>
      </p:sp>
      <p:sp>
        <p:nvSpPr>
          <p:cNvPr id="80" name="Ovaal 79">
            <a:extLst>
              <a:ext uri="{FF2B5EF4-FFF2-40B4-BE49-F238E27FC236}">
                <a16:creationId xmlns:a16="http://schemas.microsoft.com/office/drawing/2014/main" id="{12552ED7-5546-AA3F-A9E6-A649D17D8D20}"/>
              </a:ext>
            </a:extLst>
          </p:cNvPr>
          <p:cNvSpPr/>
          <p:nvPr/>
        </p:nvSpPr>
        <p:spPr>
          <a:xfrm>
            <a:off x="553853" y="1460253"/>
            <a:ext cx="307233" cy="307233"/>
          </a:xfrm>
          <a:prstGeom prst="ellipse">
            <a:avLst/>
          </a:prstGeom>
          <a:solidFill>
            <a:schemeClr val="accent6"/>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089" b="1" dirty="0">
                <a:solidFill>
                  <a:schemeClr val="bg1"/>
                </a:solidFill>
                <a:latin typeface="Arial" panose="020B0604020202020204" pitchFamily="34" charset="0"/>
                <a:cs typeface="Arial" panose="020B0604020202020204" pitchFamily="34" charset="0"/>
                <a:sym typeface="Arial" panose="020B0604020202020204" pitchFamily="34" charset="0"/>
              </a:rPr>
              <a:t>1</a:t>
            </a:r>
          </a:p>
        </p:txBody>
      </p:sp>
      <p:sp>
        <p:nvSpPr>
          <p:cNvPr id="81" name="Ovaal 80">
            <a:extLst>
              <a:ext uri="{FF2B5EF4-FFF2-40B4-BE49-F238E27FC236}">
                <a16:creationId xmlns:a16="http://schemas.microsoft.com/office/drawing/2014/main" id="{B8A9D582-27BD-493F-F456-91936B70C41B}"/>
              </a:ext>
            </a:extLst>
          </p:cNvPr>
          <p:cNvSpPr/>
          <p:nvPr/>
        </p:nvSpPr>
        <p:spPr>
          <a:xfrm>
            <a:off x="553853" y="3868792"/>
            <a:ext cx="307233" cy="307233"/>
          </a:xfrm>
          <a:prstGeom prst="ellipse">
            <a:avLst/>
          </a:prstGeom>
          <a:solidFill>
            <a:schemeClr val="accent6"/>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089" b="1">
                <a:solidFill>
                  <a:schemeClr val="bg1"/>
                </a:solidFill>
                <a:latin typeface="Arial" panose="020B0604020202020204" pitchFamily="34" charset="0"/>
                <a:cs typeface="Arial" panose="020B0604020202020204" pitchFamily="34" charset="0"/>
                <a:sym typeface="Arial" panose="020B0604020202020204" pitchFamily="34" charset="0"/>
              </a:rPr>
              <a:t>3</a:t>
            </a:r>
          </a:p>
        </p:txBody>
      </p:sp>
      <p:sp>
        <p:nvSpPr>
          <p:cNvPr id="82" name="Ovaal 81">
            <a:extLst>
              <a:ext uri="{FF2B5EF4-FFF2-40B4-BE49-F238E27FC236}">
                <a16:creationId xmlns:a16="http://schemas.microsoft.com/office/drawing/2014/main" id="{AE332744-FF28-A154-F47C-9D124E05512B}"/>
              </a:ext>
            </a:extLst>
          </p:cNvPr>
          <p:cNvSpPr/>
          <p:nvPr/>
        </p:nvSpPr>
        <p:spPr>
          <a:xfrm>
            <a:off x="553853" y="4913692"/>
            <a:ext cx="307233" cy="307233"/>
          </a:xfrm>
          <a:prstGeom prst="ellipse">
            <a:avLst/>
          </a:prstGeom>
          <a:solidFill>
            <a:schemeClr val="accent6"/>
          </a:solid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089" b="1">
                <a:solidFill>
                  <a:schemeClr val="bg1"/>
                </a:solidFill>
                <a:latin typeface="Arial" panose="020B0604020202020204" pitchFamily="34" charset="0"/>
                <a:cs typeface="Arial" panose="020B0604020202020204" pitchFamily="34" charset="0"/>
                <a:sym typeface="Arial" panose="020B0604020202020204" pitchFamily="34" charset="0"/>
              </a:rPr>
              <a:t>4</a:t>
            </a:r>
          </a:p>
        </p:txBody>
      </p:sp>
      <p:pic>
        <p:nvPicPr>
          <p:cNvPr id="75" name="Afbeelding 74" descr="Afbeelding met zwart, duisternis&#10;&#10;Automatisch gegenereerde beschrijving">
            <a:extLst>
              <a:ext uri="{FF2B5EF4-FFF2-40B4-BE49-F238E27FC236}">
                <a16:creationId xmlns:a16="http://schemas.microsoft.com/office/drawing/2014/main" id="{AF31676C-D7AF-71B6-F529-2BC3FC33E477}"/>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50803" y="1600370"/>
            <a:ext cx="676830" cy="676830"/>
          </a:xfrm>
          <a:prstGeom prst="rect">
            <a:avLst/>
          </a:prstGeom>
        </p:spPr>
      </p:pic>
      <p:pic>
        <p:nvPicPr>
          <p:cNvPr id="77" name="Afbeelding 76" descr="Afbeelding met zwart, duisternis&#10;&#10;Automatisch gegenereerde beschrijving">
            <a:extLst>
              <a:ext uri="{FF2B5EF4-FFF2-40B4-BE49-F238E27FC236}">
                <a16:creationId xmlns:a16="http://schemas.microsoft.com/office/drawing/2014/main" id="{D0E7DB91-EC90-7A53-E5AE-7F82ADF2DF8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91783" y="2793151"/>
            <a:ext cx="635850" cy="635850"/>
          </a:xfrm>
          <a:prstGeom prst="rect">
            <a:avLst/>
          </a:prstGeom>
        </p:spPr>
      </p:pic>
      <p:pic>
        <p:nvPicPr>
          <p:cNvPr id="98" name="Afbeelding 97" descr="Afbeelding met zwart, duisternis&#10;&#10;Automatisch gegenereerde beschrijving">
            <a:extLst>
              <a:ext uri="{FF2B5EF4-FFF2-40B4-BE49-F238E27FC236}">
                <a16:creationId xmlns:a16="http://schemas.microsoft.com/office/drawing/2014/main" id="{D7E4E145-58D4-45BE-46EF-C6D9C0977068}"/>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64071" y="4022408"/>
            <a:ext cx="691273" cy="691273"/>
          </a:xfrm>
          <a:prstGeom prst="rect">
            <a:avLst/>
          </a:prstGeom>
        </p:spPr>
      </p:pic>
      <p:pic>
        <p:nvPicPr>
          <p:cNvPr id="100" name="Afbeelding 99" descr="Afbeelding met zwart, duisternis&#10;&#10;Automatisch gegenereerde beschrijving">
            <a:extLst>
              <a:ext uri="{FF2B5EF4-FFF2-40B4-BE49-F238E27FC236}">
                <a16:creationId xmlns:a16="http://schemas.microsoft.com/office/drawing/2014/main" id="{16E790CB-34C0-2D0F-AC29-609539CD6B9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04224" y="5067308"/>
            <a:ext cx="751120" cy="751120"/>
          </a:xfrm>
          <a:prstGeom prst="rect">
            <a:avLst/>
          </a:prstGeom>
        </p:spPr>
      </p:pic>
    </p:spTree>
    <p:extLst>
      <p:ext uri="{BB962C8B-B14F-4D97-AF65-F5344CB8AC3E}">
        <p14:creationId xmlns:p14="http://schemas.microsoft.com/office/powerpoint/2010/main" val="17093118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1917676980"/>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271380118"/>
              </p:ext>
            </p:extLst>
          </p:nvPr>
        </p:nvGraphicFramePr>
        <p:xfrm>
          <a:off x="470845" y="655041"/>
          <a:ext cx="11391725" cy="7117886"/>
        </p:xfrm>
        <a:graphic>
          <a:graphicData uri="http://schemas.openxmlformats.org/drawingml/2006/table">
            <a:tbl>
              <a:tblPr firstRow="1" bandRow="1">
                <a:tableStyleId>{5C22544A-7EE6-4342-B048-85BDC9FD1C3A}</a:tableStyleId>
              </a:tblPr>
              <a:tblGrid>
                <a:gridCol w="2278345">
                  <a:extLst>
                    <a:ext uri="{9D8B030D-6E8A-4147-A177-3AD203B41FA5}">
                      <a16:colId xmlns:a16="http://schemas.microsoft.com/office/drawing/2014/main" val="2010582758"/>
                    </a:ext>
                  </a:extLst>
                </a:gridCol>
                <a:gridCol w="2278345">
                  <a:extLst>
                    <a:ext uri="{9D8B030D-6E8A-4147-A177-3AD203B41FA5}">
                      <a16:colId xmlns:a16="http://schemas.microsoft.com/office/drawing/2014/main" val="3881206508"/>
                    </a:ext>
                  </a:extLst>
                </a:gridCol>
                <a:gridCol w="2278345">
                  <a:extLst>
                    <a:ext uri="{9D8B030D-6E8A-4147-A177-3AD203B41FA5}">
                      <a16:colId xmlns:a16="http://schemas.microsoft.com/office/drawing/2014/main" val="2356519941"/>
                    </a:ext>
                  </a:extLst>
                </a:gridCol>
                <a:gridCol w="2278345">
                  <a:extLst>
                    <a:ext uri="{9D8B030D-6E8A-4147-A177-3AD203B41FA5}">
                      <a16:colId xmlns:a16="http://schemas.microsoft.com/office/drawing/2014/main" val="1209552632"/>
                    </a:ext>
                  </a:extLst>
                </a:gridCol>
                <a:gridCol w="2278345">
                  <a:extLst>
                    <a:ext uri="{9D8B030D-6E8A-4147-A177-3AD203B41FA5}">
                      <a16:colId xmlns:a16="http://schemas.microsoft.com/office/drawing/2014/main" val="1549531709"/>
                    </a:ext>
                  </a:extLst>
                </a:gridCol>
              </a:tblGrid>
              <a:tr h="579120">
                <a:tc>
                  <a:txBody>
                    <a:bodyPr/>
                    <a:lstStyle/>
                    <a:p>
                      <a:r>
                        <a:rPr lang="en-GB" sz="1600" b="1">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31015945"/>
                  </a:ext>
                </a:extLst>
              </a:tr>
              <a:tr h="901526">
                <a:tc>
                  <a:txBody>
                    <a:bodyPr/>
                    <a:lstStyle/>
                    <a:p>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Definition </a:t>
                      </a:r>
                      <a:endParaRPr lang="en-GB" sz="1400" b="0" i="1" kern="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sym typeface="Arial" panose="020B0604020202020204" pitchFamily="34" charset="0"/>
                      </a:endParaRPr>
                    </a:p>
                  </a:txBody>
                  <a:tcPr marL="108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a:lnSpc>
                          <a:spcPct val="100000"/>
                        </a:lnSpc>
                        <a:spcBef>
                          <a:spcPts val="0"/>
                        </a:spcBef>
                        <a:spcAft>
                          <a:spcPts val="0"/>
                        </a:spcAft>
                        <a:buFont typeface="Arial" panose="020B0604020202020204" pitchFamily="34" charset="0"/>
                        <a:buChar char="•"/>
                      </a:pPr>
                      <a:r>
                        <a:rPr lang="en-US" sz="1000" b="1"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Develops their understanding of Rewire and offers fresh perspective</a:t>
                      </a:r>
                      <a:endParaRPr lang="en-US" sz="1000" b="1"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indent="-177800" algn="l">
                        <a:lnSpc>
                          <a:spcPct val="100000"/>
                        </a:lnSpc>
                        <a:spcBef>
                          <a:spcPts val="0"/>
                        </a:spcBef>
                        <a:spcAft>
                          <a:spcPts val="3190"/>
                        </a:spcAft>
                        <a:buFont typeface="Arial" panose="020B0604020202020204" pitchFamily="34" charset="0"/>
                        <a:buChar char="•"/>
                      </a:pPr>
                      <a:r>
                        <a:rPr lang="en-US" sz="1000" b="1"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Understands disruptive trends and promotes potential opportunities for improvement </a:t>
                      </a:r>
                      <a:endParaRPr lang="en-US" sz="1000" b="1"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40030" marR="68580" indent="-171450" algn="l">
                        <a:lnSpc>
                          <a:spcPct val="100000"/>
                        </a:lnSpc>
                        <a:spcBef>
                          <a:spcPts val="0"/>
                        </a:spcBef>
                        <a:spcAft>
                          <a:spcPts val="1030"/>
                        </a:spcAft>
                        <a:buFont typeface="Arial" panose="020B0604020202020204" pitchFamily="34" charset="0"/>
                        <a:buChar char="•"/>
                      </a:pPr>
                      <a:r>
                        <a:rPr lang="en-US" sz="1000" b="1"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Applies understanding of disruptive trends and competitor activity to recommend changes in line with leading practices </a:t>
                      </a:r>
                      <a:endParaRPr lang="en-US" sz="1000" b="1"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17170" marR="45720" indent="-171450" algn="l">
                        <a:lnSpc>
                          <a:spcPct val="100000"/>
                        </a:lnSpc>
                        <a:spcBef>
                          <a:spcPts val="0"/>
                        </a:spcBef>
                        <a:spcAft>
                          <a:spcPts val="1030"/>
                        </a:spcAft>
                        <a:buFont typeface="Arial" panose="020B0604020202020204" pitchFamily="34" charset="0"/>
                        <a:buChar char="•"/>
                      </a:pPr>
                      <a:r>
                        <a:rPr lang="en-US" sz="1000" b="1"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Applies deep knowledge of disruptive trends and competitor activity to drive continuous improvement </a:t>
                      </a:r>
                      <a:endParaRPr lang="en-US" sz="1000" b="1"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monstrating commercial</a:t>
                      </a:r>
                      <a:r>
                        <a:rPr lang="en-GB" sz="1400" b="1" i="0" kern="800" baseline="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awareness </a:t>
                      </a: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nderstands how Rewire delivers value through the products or services within their business area </a:t>
                      </a:r>
                    </a:p>
                    <a:p>
                      <a:pPr marL="171450" indent="-171450" algn="l" rtl="0" fontAlgn="t">
                        <a:buFont typeface="Arial" panose="020B0604020202020204" pitchFamily="34" charset="0"/>
                        <a:buChar char="•"/>
                      </a:pP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akes informed decisions within their area of responsibility and makes recommendations to enhance quality and effectiveness</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ctively manages the work of their teams against project scope to maximize quality, effectiveness and value to both clients and to Rewire</a:t>
                      </a:r>
                    </a:p>
                    <a:p>
                      <a:pPr marL="171450" indent="-171450" algn="l" rtl="0" fontAlgn="t">
                        <a:buFont typeface="Arial" panose="020B0604020202020204" pitchFamily="34" charset="0"/>
                        <a:buChar char="•"/>
                      </a:pP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uilds teams, project plans and solutions in a manner that manages risk and optimizes quality and value to clients and to Rewire</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lient engagement</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68580" indent="-171450" algn="l" defTabSz="1219170" rtl="0" eaLnBrk="1" fontAlgn="t" latinLnBrk="0" hangingPunct="1">
                        <a:lnSpc>
                          <a:spcPts val="1000"/>
                        </a:lnSpc>
                        <a:spcBef>
                          <a:spcPts val="0"/>
                        </a:spcBef>
                        <a:spcAft>
                          <a:spcPts val="0"/>
                        </a:spcAf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ngages with others to build professional relationships and develop a network </a:t>
                      </a:r>
                    </a:p>
                    <a:p>
                      <a:pPr marL="171450" marR="68580" indent="-171450" algn="l" defTabSz="1219170" rtl="0" eaLnBrk="1" fontAlgn="t" latinLnBrk="0" hangingPunct="1">
                        <a:lnSpc>
                          <a:spcPts val="1000"/>
                        </a:lnSpc>
                        <a:spcBef>
                          <a:spcPts val="0"/>
                        </a:spcBef>
                        <a:spcAft>
                          <a:spcPts val="0"/>
                        </a:spcAf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uilds productive relationships with peer(s) of client based on impactful analyses</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1219170" rtl="0" eaLnBrk="1" fontAlgn="t" latinLnBrk="0" hangingPunct="1">
                        <a:lnSpc>
                          <a:spcPts val="1000"/>
                        </a:lnSpc>
                        <a:spcBef>
                          <a:spcPts val="0"/>
                        </a:spcBef>
                        <a:spcAft>
                          <a:spcPts val="0"/>
                        </a:spcAf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teracts effectively with people across all levels, including leaders, teams and clients </a:t>
                      </a:r>
                    </a:p>
                    <a:p>
                      <a:pPr marL="171450" marR="0" indent="-171450" algn="l" defTabSz="1219170" rtl="0" eaLnBrk="1" fontAlgn="t" latinLnBrk="0" hangingPunct="1">
                        <a:lnSpc>
                          <a:spcPts val="1000"/>
                        </a:lnSpc>
                        <a:spcBef>
                          <a:spcPts val="0"/>
                        </a:spcBef>
                        <a:spcAft>
                          <a:spcPts val="0"/>
                        </a:spcAft>
                        <a:buFont typeface="Arial" panose="020B0604020202020204" pitchFamily="34" charset="0"/>
                        <a:buChar cha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Helps client substantially in reaching its goals</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68580" indent="-171450" algn="l" defTabSz="1219170" rtl="0" eaLnBrk="1" fontAlgn="t" latinLnBrk="0" hangingPunct="1">
                        <a:lnSpc>
                          <a:spcPts val="1100"/>
                        </a:lnSpc>
                        <a:spcBef>
                          <a:spcPts val="0"/>
                        </a:spcBef>
                        <a:spcAft>
                          <a:spcPts val="0"/>
                        </a:spcAft>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uilds and maintains productive relationships with internal and external stakeholders and colleagues, across a broad network, based on mutual respect and trus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114300" indent="-171450" algn="l" defTabSz="1219170" rtl="0" eaLnBrk="1" fontAlgn="t" latinLnBrk="0" hangingPunct="1">
                        <a:lnSpc>
                          <a:spcPts val="1100"/>
                        </a:lnSpc>
                        <a:spcBef>
                          <a:spcPts val="0"/>
                        </a:spcBef>
                        <a:spcAft>
                          <a:spcPts val="0"/>
                        </a:spcAft>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uilds broad networks and deep professional relationships, that span across businesses and borders, and include a diverse range of internal and external stakeholders </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26383962"/>
                  </a:ext>
                </a:extLst>
              </a:tr>
              <a:tr h="1352160">
                <a:tc>
                  <a:txBody>
                    <a:bodyPr/>
                    <a:lstStyle/>
                    <a:p>
                      <a:r>
                        <a:rPr lang="en-GB" sz="1400" b="1" i="0" u="none" strike="noStrike"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takeholder management</a:t>
                      </a:r>
                    </a:p>
                    <a:p>
                      <a:r>
                        <a:rPr lang="en-GB" sz="1400" b="0" i="1" u="none" strike="noStrike" kern="8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uilding trust</a:t>
                      </a:r>
                      <a:endParaRPr lang="en-GB" sz="1400" b="0" i="1"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ntributes quality input to </a:t>
                      </a: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monstrate the value </a:t>
                      </a:r>
                      <a:r>
                        <a:rPr lang="en-GB" sz="1000" b="0" i="0" u="none" strike="noStrike" baseline="0">
                          <a:solidFill>
                            <a:schemeClr val="tx1"/>
                          </a:solidFill>
                          <a:effectLst/>
                          <a:latin typeface="Arial" panose="020B0604020202020204" pitchFamily="34" charset="0"/>
                          <a:cs typeface="Arial" panose="020B0604020202020204" pitchFamily="34" charset="0"/>
                          <a:sym typeface="Arial" panose="020B0604020202020204" pitchFamily="34" charset="0"/>
                        </a:rPr>
                        <a:t>Rewire brings,</a:t>
                      </a: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 </a:t>
                      </a: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nd speaks up about problems or issues</a:t>
                      </a:r>
                    </a:p>
                    <a:p>
                      <a:pPr marL="171450" indent="-171450" algn="l" rtl="0" fontAlgn="t">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uild client relationship based on trust</a:t>
                      </a:r>
                    </a:p>
                    <a:p>
                      <a:pPr marL="171450" indent="-171450" algn="l" rtl="0" fontAlgn="t">
                        <a:buFont typeface="Arial" panose="020B0604020202020204" pitchFamily="34" charset="0"/>
                        <a:buChar char="•"/>
                      </a:pP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Offers clear insights to </a:t>
                      </a:r>
                      <a:r>
                        <a:rPr lang="en-GB" sz="1000" b="0" i="0" u="none" strike="noStrike" kern="1200" baseline="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nhance the quality and value of proposals, solutions or business offerings as appropriate for their business</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nderstands client needs and clearly communicates the quality and value that Rewire can bring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nticipates client needs by proactively bringing </a:t>
                      </a:r>
                      <a:r>
                        <a:rPr lang="en-GB" sz="1000" b="0" i="0" u="none" strike="noStrike" kern="1200" baseline="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quality insights, capabilities and thought leadership to enhance professional relationships</a:t>
                      </a:r>
                      <a:endPar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nticipates client needs by proactively bringing </a:t>
                      </a:r>
                      <a:r>
                        <a:rPr lang="en-GB" sz="1000" b="0" i="0" u="none" strike="noStrike" kern="1200" baseline="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quality insights, capabilities and thought leadership to enhance professional relationships</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tilizes an in-depth knowledge of business, market and industry trends to demonstrate the quality</a:t>
                      </a:r>
                      <a:r>
                        <a:rPr lang="en-GB" sz="1000" b="0" i="0" u="none" strike="noStrike" kern="1200" baseline="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and</a:t>
                      </a: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value that Rewire brings, through the delivery</a:t>
                      </a:r>
                      <a:r>
                        <a:rPr lang="en-GB" sz="1000" b="0" i="0" u="none" strike="noStrike" kern="1200" baseline="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of </a:t>
                      </a: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ervice excellence</a:t>
                      </a:r>
                    </a:p>
                    <a:p>
                      <a:pPr marL="171450" indent="-171450">
                        <a:buFont typeface="Arial" panose="020B0604020202020204" pitchFamily="34" charset="0"/>
                        <a:buChar char="•"/>
                      </a:pP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3096074"/>
                  </a:ext>
                </a:extLst>
              </a:tr>
              <a:tr h="1352160">
                <a:tc>
                  <a:txBody>
                    <a:bodyPr/>
                    <a:lstStyle/>
                    <a:p>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Negotiation and conflict resolu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nderstands basic negotiation techniques and potential negotiation pitfalls</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uilds deeper understanding of negotiation tools and techniques along with the nuances of negotiation with internal (cross-discipline) and external (clients) stakeholders</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mploys effective negotiation tools and techniques that have high success probability in straight forward and medium complex situations </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ncourages junior colleagues to develop understanding of negotiation skills</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Exhibits superlative negotiation skills with a high success rate of winning sales pursuits that are profitable for Rewire</a:t>
                      </a:r>
                    </a:p>
                    <a:p>
                      <a:pPr marL="171450" indent="-171450" algn="l" rtl="0" fontAlgn="t">
                        <a:lnSpc>
                          <a:spcPct val="100000"/>
                        </a:lnSpc>
                        <a:buFont typeface="Arial" panose="020B0604020202020204" pitchFamily="34" charset="0"/>
                        <a:buChar char="•"/>
                      </a:pPr>
                      <a:r>
                        <a:rPr lang="en-US"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Mentors diverse team(s) to advance their negotiation capability</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39841218"/>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a:solidFill>
                  <a:schemeClr val="accent4"/>
                </a:solidFill>
                <a:latin typeface="Arial" panose="020B0604020202020204" pitchFamily="34" charset="0"/>
                <a:cs typeface="Arial" panose="020B0604020202020204" pitchFamily="34" charset="0"/>
                <a:sym typeface="Arial" panose="020B0604020202020204" pitchFamily="34" charset="0"/>
              </a:rPr>
              <a:t>Leadership capability | </a:t>
            </a:r>
            <a:r>
              <a:rPr lang="nl-NL" sz="2903" dirty="0">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Client </a:t>
            </a:r>
            <a:r>
              <a:rPr lang="nl-NL" sz="2903" dirty="0" err="1">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leadership</a:t>
            </a:r>
            <a:r>
              <a:rPr lang="nl-NL" sz="2903" dirty="0">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 –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behavioral</a:t>
            </a:r>
            <a:r>
              <a:rPr lang="nl-NL" sz="2903" b="0" i="1" dirty="0">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anchors</a:t>
            </a:r>
            <a:endParaRPr lang="en-US" sz="2903" b="0" i="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70539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2328814512"/>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1867697141"/>
              </p:ext>
            </p:extLst>
          </p:nvPr>
        </p:nvGraphicFramePr>
        <p:xfrm>
          <a:off x="470844" y="1074141"/>
          <a:ext cx="11390955" cy="5769146"/>
        </p:xfrm>
        <a:graphic>
          <a:graphicData uri="http://schemas.openxmlformats.org/drawingml/2006/table">
            <a:tbl>
              <a:tblPr firstRow="1" bandRow="1">
                <a:tableStyleId>{5C22544A-7EE6-4342-B048-85BDC9FD1C3A}</a:tableStyleId>
              </a:tblPr>
              <a:tblGrid>
                <a:gridCol w="2278191">
                  <a:extLst>
                    <a:ext uri="{9D8B030D-6E8A-4147-A177-3AD203B41FA5}">
                      <a16:colId xmlns:a16="http://schemas.microsoft.com/office/drawing/2014/main" val="2010582758"/>
                    </a:ext>
                  </a:extLst>
                </a:gridCol>
                <a:gridCol w="2278191">
                  <a:extLst>
                    <a:ext uri="{9D8B030D-6E8A-4147-A177-3AD203B41FA5}">
                      <a16:colId xmlns:a16="http://schemas.microsoft.com/office/drawing/2014/main" val="3881206508"/>
                    </a:ext>
                  </a:extLst>
                </a:gridCol>
                <a:gridCol w="2278191">
                  <a:extLst>
                    <a:ext uri="{9D8B030D-6E8A-4147-A177-3AD203B41FA5}">
                      <a16:colId xmlns:a16="http://schemas.microsoft.com/office/drawing/2014/main" val="2356519941"/>
                    </a:ext>
                  </a:extLst>
                </a:gridCol>
                <a:gridCol w="2278191">
                  <a:extLst>
                    <a:ext uri="{9D8B030D-6E8A-4147-A177-3AD203B41FA5}">
                      <a16:colId xmlns:a16="http://schemas.microsoft.com/office/drawing/2014/main" val="1209552632"/>
                    </a:ext>
                  </a:extLst>
                </a:gridCol>
                <a:gridCol w="2278191">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31015945"/>
                  </a:ext>
                </a:extLst>
              </a:tr>
              <a:tr h="901526">
                <a:tc>
                  <a:txBody>
                    <a:bodyPr/>
                    <a:lstStyle/>
                    <a:p>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Definition </a:t>
                      </a:r>
                      <a:endParaRPr lang="en-GB" sz="1400" b="0" i="1" kern="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sym typeface="Arial" panose="020B0604020202020204" pitchFamily="34" charset="0"/>
                      </a:endParaRPr>
                    </a:p>
                  </a:txBody>
                  <a:tcPr marL="108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US"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oactively taking responsibility for their tasks and showing a willingness to learn and improve.</a:t>
                      </a:r>
                      <a:endPar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dependently managing their responsibilities, actively seeking feedback, and contributing to team goals with initiative and accountability.</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Guiding their team with clear vision and direction, making informed decisions, and fostering a collaborative and accountable work environmen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trategically steering organizational goals, mentoring leaders, and exemplifying integrity and accountability at the highest level.</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Leaning attitude &amp; motivation</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monstrates a commitment to personal learning and development</a:t>
                      </a:r>
                    </a:p>
                    <a:p>
                      <a:pPr marL="171450" indent="-171450" algn="l" defTabSz="1219170" rtl="0" eaLnBrk="1" fontAlgn="t" latinLnBrk="0" hangingPunct="1">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cts on feedback</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velops self by actively seeking opportunities for growth, shares knowledge and experiences with others, and acts as a strong brand ambassador </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velops diverse, high-performing people and teams through new and meaningful development opportunities  </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ntributes to building a diverse talent pipeline; creates a talent experience that attracts, develops and retains diverse, top talent and high performing teams  </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elf-awareness &amp; setting goals</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olicits feedback to build understanding of own strengths with a focus on continuous development</a:t>
                      </a:r>
                    </a:p>
                    <a:p>
                      <a:pPr marL="171450" indent="-171450" algn="l" defTabSz="1219170" rtl="0" eaLnBrk="1" fontAlgn="t" latinLnBrk="0" hangingPunct="1">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oactively makes a Personal Development Plan</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hares knowledge and experiences to support the development of peers and junior practitioners </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spcAft>
                          <a:spcPts val="600"/>
                        </a:spcAft>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Looks for challenges and opportunities to grow team members’ expertise and talents; encourages people to stretch their capabilities and aligns their work accordingly </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spcAft>
                          <a:spcPts val="600"/>
                        </a:spcAft>
                        <a:buFont typeface="Arial" panose="020B0604020202020204" pitchFamily="34" charset="0"/>
                        <a:buChar char="•"/>
                      </a:pPr>
                      <a:r>
                        <a:rPr lang="en-GB" sz="10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dentifies skills needed for the future, spots and develops diverse, high potential talent to meet emerging needs </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778363"/>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ntinuous learning &amp; innova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3555"/>
                        </a:spcAft>
                        <a:buClrTx/>
                        <a:buSzTx/>
                        <a:buFont typeface="Arial" panose="020B0604020202020204" pitchFamily="34" charset="0"/>
                        <a:buChar char="•"/>
                        <a:tabLst/>
                        <a:defRPr/>
                      </a:pPr>
                      <a:r>
                        <a:rPr lang="en-US" sz="1000"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Uses own knowledge of process or trends to suggest quality enhancements and effectivenes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Actively thinks of new ways of doing things that help enhance quality and effectiveness or that contribute towards building the service offering</a:t>
                      </a:r>
                      <a:endParaRPr lang="en-US" sz="1000"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1219170" rtl="0" eaLnBrk="1" fontAlgn="t" latinLnBrk="0" hangingPunct="1">
                        <a:lnSpc>
                          <a:spcPct val="100000"/>
                        </a:lnSpc>
                        <a:spcBef>
                          <a:spcPts val="0"/>
                        </a:spcBef>
                        <a:spcAft>
                          <a:spcPts val="600"/>
                        </a:spcAft>
                        <a:buFont typeface="Arial" panose="020B0604020202020204" pitchFamily="34" charset="0"/>
                        <a:buChar char="•"/>
                      </a:pPr>
                      <a:r>
                        <a:rPr lang="en-US" sz="1000"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Challenges existing practices and brings in  innovative solutions from across the market or Rewire</a:t>
                      </a:r>
                      <a:endParaRPr lang="en-US" sz="1000"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1219170" rtl="0" eaLnBrk="1" fontAlgn="t" latinLnBrk="0" hangingPunct="1">
                        <a:lnSpc>
                          <a:spcPct val="100000"/>
                        </a:lnSpc>
                        <a:spcBef>
                          <a:spcPts val="0"/>
                        </a:spcBef>
                        <a:spcAft>
                          <a:spcPts val="3555"/>
                        </a:spcAft>
                        <a:buFont typeface="Arial" panose="020B0604020202020204" pitchFamily="34" charset="0"/>
                        <a:buChar char="•"/>
                      </a:pPr>
                      <a:r>
                        <a:rPr lang="en-US" sz="1000"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Leads and/or contributes to development of innovative methods and tools that increase the quality and impact of Rewire’s service offerings </a:t>
                      </a:r>
                      <a:endParaRPr lang="en-US" sz="1000"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804135"/>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mpathy &amp; influencing</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ts val="1100"/>
                        </a:lnSpc>
                        <a:spcBef>
                          <a:spcPts val="310"/>
                        </a:spcBef>
                        <a:spcAft>
                          <a:spcPts val="3535"/>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Respects and responds with sensitivity to the concerns and viewpoints of other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68580" indent="-171450" algn="l" defTabSz="1219170" rtl="0" eaLnBrk="1" fontAlgn="t" latinLnBrk="0" hangingPunct="1">
                        <a:lnSpc>
                          <a:spcPct val="100000"/>
                        </a:lnSpc>
                        <a:spcBef>
                          <a:spcPts val="0"/>
                        </a:spcBef>
                        <a:spcAft>
                          <a:spcPts val="600"/>
                        </a:spcAft>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Flexes communication style based on the audience in order to maximize positive impac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Flexes influencing approach to account for individual and organizational sensitivitie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68580" indent="-171450" algn="l" defTabSz="1219170" rtl="0" eaLnBrk="1" fontAlgn="t" latinLnBrk="0" hangingPunct="1">
                        <a:lnSpc>
                          <a:spcPct val="100000"/>
                        </a:lnSpc>
                        <a:spcBef>
                          <a:spcPts val="0"/>
                        </a:spcBef>
                        <a:spcAft>
                          <a:spcPts val="600"/>
                        </a:spcAft>
                        <a:buFont typeface="Arial" panose="020B0604020202020204" pitchFamily="34" charset="0"/>
                        <a:buChar char="•"/>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ploys a range of influencing approaches and effectively navigates challenging interpersonal or group dynamics </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0577881"/>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6" y="137922"/>
            <a:ext cx="11252495" cy="338328"/>
          </a:xfrm>
        </p:spPr>
        <p:txBody>
          <a:bodyPr vert="horz"/>
          <a:lstStyle/>
          <a:p>
            <a:r>
              <a:rPr lang="en-US" sz="2903" dirty="0">
                <a:solidFill>
                  <a:schemeClr val="accent4"/>
                </a:solidFill>
                <a:latin typeface="Arial" panose="020B0604020202020204" pitchFamily="34" charset="0"/>
                <a:cs typeface="Arial" panose="020B0604020202020204" pitchFamily="34" charset="0"/>
                <a:sym typeface="Arial" panose="020B0604020202020204" pitchFamily="34" charset="0"/>
              </a:rPr>
              <a:t>Professional competency| </a:t>
            </a:r>
            <a:r>
              <a:rPr lang="en-US" sz="2903" dirty="0">
                <a:solidFill>
                  <a:schemeClr val="tx1"/>
                </a:solidFill>
                <a:latin typeface="Arial" panose="020B0604020202020204" pitchFamily="34" charset="0"/>
                <a:cs typeface="Arial" panose="020B0604020202020204" pitchFamily="34" charset="0"/>
                <a:sym typeface="Arial" panose="020B0604020202020204" pitchFamily="34" charset="0"/>
              </a:rPr>
              <a:t>Personal leadership </a:t>
            </a:r>
            <a:r>
              <a:rPr lang="en-US" sz="2903" b="0" i="1" dirty="0">
                <a:solidFill>
                  <a:schemeClr val="tx1"/>
                </a:solidFill>
                <a:latin typeface="Arial" panose="020B0604020202020204" pitchFamily="34" charset="0"/>
                <a:cs typeface="Arial" panose="020B0604020202020204" pitchFamily="34" charset="0"/>
                <a:sym typeface="Arial" panose="020B0604020202020204" pitchFamily="34" charset="0"/>
              </a:rPr>
              <a:t>– behavioral anchors</a:t>
            </a:r>
            <a:br>
              <a:rPr lang="en-US" sz="2903" dirty="0">
                <a:solidFill>
                  <a:schemeClr val="tx1"/>
                </a:solidFill>
                <a:latin typeface="Arial" panose="020B0604020202020204" pitchFamily="34" charset="0"/>
                <a:cs typeface="Arial" panose="020B0604020202020204" pitchFamily="34" charset="0"/>
                <a:sym typeface="Arial" panose="020B0604020202020204" pitchFamily="34" charset="0"/>
              </a:rPr>
            </a:br>
            <a:endParaRPr lang="en-US" sz="290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8023451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250192504"/>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2033178167"/>
              </p:ext>
            </p:extLst>
          </p:nvPr>
        </p:nvGraphicFramePr>
        <p:xfrm>
          <a:off x="470844" y="756641"/>
          <a:ext cx="11390955" cy="6398992"/>
        </p:xfrm>
        <a:graphic>
          <a:graphicData uri="http://schemas.openxmlformats.org/drawingml/2006/table">
            <a:tbl>
              <a:tblPr firstRow="1" bandRow="1">
                <a:tableStyleId>{5C22544A-7EE6-4342-B048-85BDC9FD1C3A}</a:tableStyleId>
              </a:tblPr>
              <a:tblGrid>
                <a:gridCol w="2278191">
                  <a:extLst>
                    <a:ext uri="{9D8B030D-6E8A-4147-A177-3AD203B41FA5}">
                      <a16:colId xmlns:a16="http://schemas.microsoft.com/office/drawing/2014/main" val="2010582758"/>
                    </a:ext>
                  </a:extLst>
                </a:gridCol>
                <a:gridCol w="2278191">
                  <a:extLst>
                    <a:ext uri="{9D8B030D-6E8A-4147-A177-3AD203B41FA5}">
                      <a16:colId xmlns:a16="http://schemas.microsoft.com/office/drawing/2014/main" val="3881206508"/>
                    </a:ext>
                  </a:extLst>
                </a:gridCol>
                <a:gridCol w="2278191">
                  <a:extLst>
                    <a:ext uri="{9D8B030D-6E8A-4147-A177-3AD203B41FA5}">
                      <a16:colId xmlns:a16="http://schemas.microsoft.com/office/drawing/2014/main" val="2356519941"/>
                    </a:ext>
                  </a:extLst>
                </a:gridCol>
                <a:gridCol w="2278191">
                  <a:extLst>
                    <a:ext uri="{9D8B030D-6E8A-4147-A177-3AD203B41FA5}">
                      <a16:colId xmlns:a16="http://schemas.microsoft.com/office/drawing/2014/main" val="1209552632"/>
                    </a:ext>
                  </a:extLst>
                </a:gridCol>
                <a:gridCol w="2278191">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i="1" dirty="0">
                          <a:solidFill>
                            <a:schemeClr val="tx1"/>
                          </a:solidFill>
                          <a:latin typeface="Arial" panose="020B0604020202020204" pitchFamily="34" charset="0"/>
                          <a:cs typeface="Arial" panose="020B0604020202020204" pitchFamily="34" charset="0"/>
                          <a:sym typeface="Arial" panose="020B0604020202020204" pitchFamily="34" charset="0"/>
                        </a:rPr>
                        <a:t>Junior</a:t>
                      </a: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31015945"/>
                  </a:ext>
                </a:extLst>
              </a:tr>
              <a:tr h="901526">
                <a:tc>
                  <a:txBody>
                    <a:bodyPr/>
                    <a:lstStyle/>
                    <a:p>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Definition </a:t>
                      </a:r>
                      <a:endParaRPr lang="en-GB" sz="1400" b="0" i="1" kern="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sym typeface="Arial" panose="020B0604020202020204" pitchFamily="34" charset="0"/>
                      </a:endParaRPr>
                    </a:p>
                  </a:txBody>
                  <a:tcPr marL="108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US"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ffectively collaborating with peers and contributing to a positive team environment.</a:t>
                      </a:r>
                      <a:endParaRPr lang="en-GB"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oviding constructive feedback, supporting team members' development, and fostering teamwork.</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otivating the team, delegating tasks effectively, and ensuring a collaborative and productive work environmen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spiring and mentoring leaders across the organization, driving a culture of excellence, and ensuring alignment with strategic goal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High performance coaching</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mp; Giving effective feedback</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ssists </a:t>
                      </a:r>
                      <a:r>
                        <a:rPr lang="en-GB" sz="1000" b="0" i="0" u="none" strike="noStrike" kern="1200" dirty="0" err="1">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achees</a:t>
                      </a: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in setting specific, measurable, achievable, relevant, and time-bound (SMART) goals, aligned with their personal and professional aspirations</a:t>
                      </a:r>
                    </a:p>
                    <a:p>
                      <a:pPr marL="171450" indent="-171450" algn="l" defTabSz="1219170" rtl="0" eaLnBrk="1" fontAlgn="t" latinLnBrk="0" hangingPunct="1">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ovides constructive feedback to </a:t>
                      </a:r>
                      <a:r>
                        <a:rPr lang="en-GB" sz="1000" b="0" i="0" u="none" strike="noStrike" kern="1200" dirty="0" err="1">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achees</a:t>
                      </a: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and PL’s in a positive and encouraging manner, focusing on strengths, areas for improvement, and actionable steps for growth.</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pplies a structured coaching framework or methodology to guide coaching sessions effectively, ensuring consistency and accountability in the coaching process. </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tilizes powerful questioning techniques to provoke deep reflection, insight, and self-discovery in </a:t>
                      </a:r>
                      <a:r>
                        <a:rPr lang="en-GB" sz="1000" b="0" i="0" u="none" strike="noStrike" kern="1200" dirty="0" err="1">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achees</a:t>
                      </a: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facilitating learning and growth.</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ngages in transformational coaching practices that inspire and empower </a:t>
                      </a:r>
                      <a:r>
                        <a:rPr lang="en-GB" sz="1000" b="0" i="0" u="none" strike="noStrike" kern="1200" dirty="0" err="1">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achees</a:t>
                      </a: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to reach their highest potential, driving meaningful and sustainable change</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ossesses advanced skills in conflict resolution and mediation, helping </a:t>
                      </a:r>
                      <a:r>
                        <a:rPr lang="en-GB" sz="1000" b="0" i="0" u="none" strike="noStrike" kern="1200" dirty="0" err="1">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achees</a:t>
                      </a: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navigate interpersonal conflicts and challenges with resilience and effectiveness</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pplies systems thinking principles to coaching, considering the interconnectedness of individual, team, and organizational dynamics in driving performance and growth</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9228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reating a team environment</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larifies expectations and confidently contributes to team discussion; speaks</a:t>
                      </a:r>
                      <a:r>
                        <a:rPr lang="en-GB" sz="1000" b="0" i="0" u="none" strike="noStrike" kern="1200" baseline="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up to ask for support if needed</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upports the interests of the team by looking out for the needs of their colleagues and team members </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hapes the team environment by encouraging cooperation and support; recognizes individual and team contributions </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hapes the team culture by proactively checking in with team members and encouraging frequent communication to improve team engagemen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778363"/>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timulate continuous learning</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3555"/>
                        </a:spcAft>
                        <a:buClrTx/>
                        <a:buSzTx/>
                        <a:buFont typeface="Arial" panose="020B0604020202020204" pitchFamily="34" charset="0"/>
                        <a:buChar char="•"/>
                        <a:tabLst/>
                        <a:defRPr/>
                      </a:pPr>
                      <a:r>
                        <a:rPr lang="en-US" sz="1000"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Provides guidance and support to junior colleagues (Working Students) in their development</a:t>
                      </a:r>
                    </a:p>
                    <a:p>
                      <a:pPr marL="171450" marR="0" lvl="0" indent="-171450" algn="l" defTabSz="1219170" rtl="0" eaLnBrk="1" fontAlgn="t" latinLnBrk="0" hangingPunct="1">
                        <a:lnSpc>
                          <a:spcPct val="100000"/>
                        </a:lnSpc>
                        <a:spcBef>
                          <a:spcPts val="0"/>
                        </a:spcBef>
                        <a:spcAft>
                          <a:spcPts val="3555"/>
                        </a:spcAft>
                        <a:buClrTx/>
                        <a:buSzTx/>
                        <a:buFont typeface="Arial" panose="020B0604020202020204" pitchFamily="34" charset="0"/>
                        <a:buChar char="•"/>
                        <a:tabLst/>
                        <a:defRPr/>
                      </a:pPr>
                      <a:endParaRPr lang="en-US" sz="1000"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Provides guidance and support to junior colleagues in their development: both on the job as during coaching sessions</a:t>
                      </a:r>
                    </a:p>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Shares best practices and helps solve complex problems.</a:t>
                      </a:r>
                      <a:endParaRPr lang="en-US" sz="1000"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1219170" rtl="0" eaLnBrk="1" fontAlgn="t" latinLnBrk="0" hangingPunct="1">
                        <a:lnSpc>
                          <a:spcPct val="100000"/>
                        </a:lnSpc>
                        <a:spcBef>
                          <a:spcPts val="0"/>
                        </a:spcBef>
                        <a:spcAft>
                          <a:spcPts val="600"/>
                        </a:spcAft>
                        <a:buFont typeface="Arial" panose="020B0604020202020204" pitchFamily="34" charset="0"/>
                        <a:buChar char="•"/>
                      </a:pPr>
                      <a:r>
                        <a:rPr lang="en-US" sz="1000"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Inspires and motivates others to embrace a culture of continuous learning.</a:t>
                      </a:r>
                    </a:p>
                    <a:p>
                      <a:pPr marL="171450" marR="0" indent="-171450" algn="l" defTabSz="1219170" rtl="0" eaLnBrk="1" fontAlgn="t" latinLnBrk="0" hangingPunct="1">
                        <a:lnSpc>
                          <a:spcPct val="100000"/>
                        </a:lnSpc>
                        <a:spcBef>
                          <a:spcPts val="0"/>
                        </a:spcBef>
                        <a:spcAft>
                          <a:spcPts val="600"/>
                        </a:spcAft>
                        <a:buFont typeface="Arial" panose="020B0604020202020204" pitchFamily="34" charset="0"/>
                        <a:buChar char="•"/>
                      </a:pPr>
                      <a:r>
                        <a:rPr lang="en-US" sz="1000"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Organizes and leads internal training sessions or knowledge-sharing meetings.</a:t>
                      </a:r>
                      <a:endParaRPr lang="en-US" sz="1000"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1219170" rtl="0" eaLnBrk="1" fontAlgn="t" latinLnBrk="0" hangingPunct="1">
                        <a:lnSpc>
                          <a:spcPct val="100000"/>
                        </a:lnSpc>
                        <a:spcBef>
                          <a:spcPts val="0"/>
                        </a:spcBef>
                        <a:spcAft>
                          <a:spcPts val="3555"/>
                        </a:spcAft>
                        <a:buFont typeface="Arial" panose="020B0604020202020204" pitchFamily="34" charset="0"/>
                        <a:buChar char="•"/>
                      </a:pPr>
                      <a:r>
                        <a:rPr lang="en-US" sz="1000" kern="1200" spc="0">
                          <a:solidFill>
                            <a:schemeClr val="tx1"/>
                          </a:solidFill>
                          <a:latin typeface="Arial" panose="020B0604020202020204" pitchFamily="34" charset="0"/>
                          <a:ea typeface="+mn-ea"/>
                          <a:cs typeface="Arial" panose="020B0604020202020204" pitchFamily="34" charset="0"/>
                          <a:sym typeface="Arial" panose="020B0604020202020204" pitchFamily="34" charset="0"/>
                        </a:rPr>
                        <a:t>Regularly evaluates the effectiveness of learning and development programs and suggests improvements.</a:t>
                      </a:r>
                      <a:endParaRPr lang="en-US" sz="1000" kern="1200" spc="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804135"/>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are for people</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0" i="1"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mbrace diversity</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lnSpc>
                          <a:spcPct val="100000"/>
                        </a:lnSpc>
                        <a:buFont typeface="Arial" panose="020B0604020202020204" pitchFamily="34" charset="0"/>
                        <a:buChar char="•"/>
                      </a:pPr>
                      <a:r>
                        <a:rPr lang="en-GB" sz="105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Respects differences; demonstrates appreciation for the contributions of other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GB" sz="105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upports respect and inclusion by encouraging an open dialogue with colleagues and valuing individual differences and contributions</a:t>
                      </a:r>
                      <a:endParaRPr lang="en-GB" sz="105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GB" sz="105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Looks for opportunities to recognize strengths and value differences, and reinforces them to promote </a:t>
                      </a:r>
                      <a:r>
                        <a:rPr lang="en-US" sz="105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respect, inclusion and the courage to speak up</a:t>
                      </a:r>
                      <a:endParaRPr lang="en-GB" sz="105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GB" sz="105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Serves as a role model for integrity, respect and inclusion, demonstrating an appreciation of others, including their unique strengths and differences </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0577881"/>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540073" y="0"/>
            <a:ext cx="11252495" cy="338328"/>
          </a:xfrm>
        </p:spPr>
        <p:txBody>
          <a:bodyPr vert="horz"/>
          <a:lstStyle/>
          <a:p>
            <a:r>
              <a:rPr lang="en-US" sz="2903" dirty="0">
                <a:solidFill>
                  <a:schemeClr val="accent4"/>
                </a:solidFill>
              </a:rPr>
              <a:t>Professional competency| </a:t>
            </a:r>
            <a:r>
              <a:rPr lang="en-US" sz="2903" dirty="0">
                <a:solidFill>
                  <a:schemeClr val="tx1"/>
                </a:solidFill>
              </a:rPr>
              <a:t>People leadership </a:t>
            </a:r>
            <a:r>
              <a:rPr lang="en-US" sz="2903">
                <a:solidFill>
                  <a:schemeClr val="tx1"/>
                </a:solidFill>
              </a:rPr>
              <a:t>&amp; care</a:t>
            </a:r>
            <a:endParaRPr lang="en-US" sz="2903" dirty="0">
              <a:solidFill>
                <a:schemeClr val="tx1"/>
              </a:solidFill>
            </a:endParaRPr>
          </a:p>
        </p:txBody>
      </p:sp>
    </p:spTree>
    <p:extLst>
      <p:ext uri="{BB962C8B-B14F-4D97-AF65-F5344CB8AC3E}">
        <p14:creationId xmlns:p14="http://schemas.microsoft.com/office/powerpoint/2010/main" val="39102835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1019139099"/>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1116222792"/>
              </p:ext>
            </p:extLst>
          </p:nvPr>
        </p:nvGraphicFramePr>
        <p:xfrm>
          <a:off x="470844" y="756641"/>
          <a:ext cx="11368230" cy="6250260"/>
        </p:xfrm>
        <a:graphic>
          <a:graphicData uri="http://schemas.openxmlformats.org/drawingml/2006/table">
            <a:tbl>
              <a:tblPr firstRow="1" bandRow="1">
                <a:tableStyleId>{5C22544A-7EE6-4342-B048-85BDC9FD1C3A}</a:tableStyleId>
              </a:tblPr>
              <a:tblGrid>
                <a:gridCol w="2273646">
                  <a:extLst>
                    <a:ext uri="{9D8B030D-6E8A-4147-A177-3AD203B41FA5}">
                      <a16:colId xmlns:a16="http://schemas.microsoft.com/office/drawing/2014/main" val="2010582758"/>
                    </a:ext>
                  </a:extLst>
                </a:gridCol>
                <a:gridCol w="2273646">
                  <a:extLst>
                    <a:ext uri="{9D8B030D-6E8A-4147-A177-3AD203B41FA5}">
                      <a16:colId xmlns:a16="http://schemas.microsoft.com/office/drawing/2014/main" val="3881206508"/>
                    </a:ext>
                  </a:extLst>
                </a:gridCol>
                <a:gridCol w="2273646">
                  <a:extLst>
                    <a:ext uri="{9D8B030D-6E8A-4147-A177-3AD203B41FA5}">
                      <a16:colId xmlns:a16="http://schemas.microsoft.com/office/drawing/2014/main" val="2356519941"/>
                    </a:ext>
                  </a:extLst>
                </a:gridCol>
                <a:gridCol w="2273646">
                  <a:extLst>
                    <a:ext uri="{9D8B030D-6E8A-4147-A177-3AD203B41FA5}">
                      <a16:colId xmlns:a16="http://schemas.microsoft.com/office/drawing/2014/main" val="1209552632"/>
                    </a:ext>
                  </a:extLst>
                </a:gridCol>
                <a:gridCol w="2273646">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i="1" dirty="0">
                          <a:solidFill>
                            <a:schemeClr val="tx1"/>
                          </a:solidFill>
                          <a:latin typeface="Arial" panose="020B0604020202020204" pitchFamily="34" charset="0"/>
                          <a:cs typeface="Arial" panose="020B0604020202020204" pitchFamily="34" charset="0"/>
                          <a:sym typeface="Arial" panose="020B0604020202020204" pitchFamily="34" charset="0"/>
                        </a:rPr>
                        <a:t>Junior</a:t>
                      </a: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31015945"/>
                  </a:ext>
                </a:extLst>
              </a:tr>
              <a:tr h="901526">
                <a:tc>
                  <a:txBody>
                    <a:bodyPr/>
                    <a:lstStyle/>
                    <a:p>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Definition </a:t>
                      </a:r>
                    </a:p>
                    <a:p>
                      <a:r>
                        <a:rPr lang="en-GB" sz="1400" b="0" i="1" kern="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sym typeface="Arial" panose="020B0604020202020204" pitchFamily="34" charset="0"/>
                        </a:rPr>
                        <a:t>Build Rewires brand</a:t>
                      </a:r>
                    </a:p>
                  </a:txBody>
                  <a:tcPr marL="108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100" b="1"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Operates in a professional manner and shows a commitment to deliver against quality and professional standards</a:t>
                      </a:r>
                      <a:endParaRPr lang="en-GB" sz="11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100" b="1"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Operates as a brand ambassador to uphold </a:t>
                      </a:r>
                      <a:r>
                        <a:rPr lang="en-GB" sz="1100" b="1" i="0" u="none" strike="noStrike" baseline="0">
                          <a:solidFill>
                            <a:schemeClr val="tx1"/>
                          </a:solidFill>
                          <a:effectLst/>
                          <a:latin typeface="Arial" panose="020B0604020202020204" pitchFamily="34" charset="0"/>
                          <a:cs typeface="Arial" panose="020B0604020202020204" pitchFamily="34" charset="0"/>
                          <a:sym typeface="Arial" panose="020B0604020202020204" pitchFamily="34" charset="0"/>
                        </a:rPr>
                        <a:t>Rewire’s value proposition of high-quality and professionalism </a:t>
                      </a:r>
                      <a:endParaRPr lang="en-GB" sz="11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100" b="1"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velops a positive personal reputation and profile related to their industry or specialty </a:t>
                      </a:r>
                      <a:endParaRPr lang="en-GB" sz="11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100" b="1"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trengthens their personal reputation in the market and actively builds Rewire’s brand, ensuring the team consistently delivers high quality work</a:t>
                      </a:r>
                      <a:endParaRPr lang="en-GB" sz="1100" b="1"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ternal contribution to Rewire</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spcAft>
                          <a:spcPts val="600"/>
                        </a:spcAft>
                        <a:buFont typeface="Arial" panose="020B0604020202020204" pitchFamily="34" charset="0"/>
                        <a:buChar char="•"/>
                      </a:pPr>
                      <a:r>
                        <a:rPr lang="en-GB" sz="1100" b="0" i="0" u="none" strike="noStrike" kern="1200">
                          <a:solidFill>
                            <a:schemeClr val="tx1"/>
                          </a:solidFill>
                          <a:effectLst/>
                          <a:latin typeface="+mn-lt"/>
                          <a:ea typeface="+mn-ea"/>
                          <a:cs typeface="+mn-cs"/>
                        </a:rPr>
                        <a:t>Acts credibly and professionally with others, and consistently represents Rewire in a positive manner</a:t>
                      </a:r>
                      <a:endParaRPr lang="en-GB" sz="1100" b="0" i="0" u="none" strike="noStrike" kern="1200" dirty="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spcAft>
                          <a:spcPts val="600"/>
                        </a:spcAft>
                        <a:buFont typeface="Arial" panose="020B0604020202020204" pitchFamily="34" charset="0"/>
                        <a:buChar char="•"/>
                      </a:pPr>
                      <a:r>
                        <a:rPr lang="en-GB" sz="1100" b="0" i="0" u="none" strike="noStrike" kern="1200">
                          <a:solidFill>
                            <a:schemeClr val="tx1"/>
                          </a:solidFill>
                          <a:effectLst/>
                          <a:latin typeface="+mn-lt"/>
                          <a:ea typeface="+mn-ea"/>
                          <a:cs typeface="+mn-cs"/>
                        </a:rPr>
                        <a:t>Acts as a brand ambassador, participating in formal and informal activities focused on bringing diverse, top talent to Rewire </a:t>
                      </a:r>
                      <a:endParaRPr lang="en-GB" sz="1100" b="0" i="0" u="none" strike="noStrike" kern="1200" dirty="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spcAft>
                          <a:spcPts val="600"/>
                        </a:spcAft>
                        <a:buFont typeface="Arial" panose="020B0604020202020204" pitchFamily="34" charset="0"/>
                        <a:buChar char="•"/>
                      </a:pPr>
                      <a:r>
                        <a:rPr lang="en-GB" sz="1100" b="0" i="0" u="none" strike="noStrike" kern="1200">
                          <a:solidFill>
                            <a:schemeClr val="tx1"/>
                          </a:solidFill>
                          <a:effectLst/>
                          <a:latin typeface="+mn-lt"/>
                          <a:ea typeface="+mn-ea"/>
                          <a:cs typeface="+mn-cs"/>
                        </a:rPr>
                        <a:t>Acts as a strong brand ambassador, actively supporting the attraction and development of diverse top talent</a:t>
                      </a:r>
                      <a:endParaRPr lang="en-GB" sz="1100" b="0" i="0" u="none" strike="noStrike" kern="1200" dirty="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spcAft>
                          <a:spcPts val="600"/>
                        </a:spcAft>
                        <a:buFont typeface="Arial" panose="020B0604020202020204" pitchFamily="34" charset="0"/>
                        <a:buChar char="•"/>
                      </a:pPr>
                      <a:r>
                        <a:rPr lang="en-GB" sz="1100" b="0" i="0" u="none" strike="noStrike" kern="1200">
                          <a:solidFill>
                            <a:schemeClr val="tx1"/>
                          </a:solidFill>
                          <a:effectLst/>
                          <a:latin typeface="+mn-lt"/>
                          <a:ea typeface="+mn-ea"/>
                          <a:cs typeface="+mn-cs"/>
                        </a:rPr>
                        <a:t>Creates an experience within the teams they lead that attracts and retains diverse top talent</a:t>
                      </a:r>
                      <a:endParaRPr lang="en-GB" sz="1100" b="0" i="0" u="none" strike="noStrike" kern="1200" dirty="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Hospitality</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GB" sz="11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monstrates flexibility and resourcefulness in responding to changing guest demands and operational requirements, ensuring smooth service delivery.</a:t>
                      </a:r>
                      <a:endParaRPr lang="en-GB" sz="11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buFont typeface="Arial" panose="020B0604020202020204" pitchFamily="34" charset="0"/>
                        <a:buChar char="•"/>
                      </a:pPr>
                      <a:r>
                        <a:rPr lang="en-GB" sz="11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NA</a:t>
                      </a:r>
                      <a:endParaRPr lang="en-GB" sz="11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spcAft>
                          <a:spcPts val="600"/>
                        </a:spcAft>
                        <a:buFont typeface="Arial" panose="020B0604020202020204" pitchFamily="34" charset="0"/>
                        <a:buChar char="•"/>
                      </a:pPr>
                      <a:r>
                        <a:rPr lang="en-GB" sz="11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NA</a:t>
                      </a:r>
                      <a:endParaRPr lang="en-GB" sz="11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spcAft>
                          <a:spcPts val="600"/>
                        </a:spcAft>
                        <a:buFont typeface="Arial" panose="020B0604020202020204" pitchFamily="34" charset="0"/>
                        <a:buChar char="•"/>
                      </a:pPr>
                      <a:r>
                        <a:rPr lang="en-GB" sz="11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NA</a:t>
                      </a:r>
                      <a:endParaRPr lang="en-GB" sz="11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778363"/>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onnection with the team</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91440" indent="-171450" algn="l" defTabSz="1219170" rtl="0" eaLnBrk="1" fontAlgn="t" latinLnBrk="0" hangingPunct="1">
                        <a:lnSpc>
                          <a:spcPct val="100000"/>
                        </a:lnSpc>
                        <a:spcBef>
                          <a:spcPts val="0"/>
                        </a:spcBef>
                        <a:spcAft>
                          <a:spcPts val="3195"/>
                        </a:spcAft>
                        <a:buFont typeface="Arial" panose="020B0604020202020204" pitchFamily="34" charset="0"/>
                        <a:buChar char="•"/>
                      </a:pPr>
                      <a:r>
                        <a:rPr lang="en-US" sz="1100" b="0" kern="1200">
                          <a:solidFill>
                            <a:schemeClr val="tx1"/>
                          </a:solidFill>
                          <a:latin typeface="Arial" panose="020B0604020202020204" pitchFamily="34" charset="0"/>
                          <a:ea typeface="+mn-ea"/>
                          <a:cs typeface="Arial" panose="020B0604020202020204" pitchFamily="34" charset="0"/>
                          <a:sym typeface="Arial" panose="020B0604020202020204" pitchFamily="34" charset="0"/>
                        </a:rPr>
                        <a:t>Demonstrates integrity and an awareness of strengths, differences, and personal impact</a:t>
                      </a:r>
                      <a:endParaRPr lang="en-US" sz="11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68580" indent="-171450" algn="l" defTabSz="1219170" rtl="0" eaLnBrk="1" fontAlgn="t" latinLnBrk="0" hangingPunct="1">
                        <a:lnSpc>
                          <a:spcPct val="100000"/>
                        </a:lnSpc>
                        <a:spcBef>
                          <a:spcPts val="0"/>
                        </a:spcBef>
                        <a:spcAft>
                          <a:spcPts val="1035"/>
                        </a:spcAft>
                        <a:buFont typeface="Arial" panose="020B0604020202020204" pitchFamily="34" charset="0"/>
                        <a:buChar char="•"/>
                      </a:pPr>
                      <a:r>
                        <a:rPr lang="en-US" sz="1100" b="0" kern="1200">
                          <a:solidFill>
                            <a:schemeClr val="tx1"/>
                          </a:solidFill>
                          <a:latin typeface="Arial" panose="020B0604020202020204" pitchFamily="34" charset="0"/>
                          <a:ea typeface="+mn-ea"/>
                          <a:cs typeface="Arial" panose="020B0604020202020204" pitchFamily="34" charset="0"/>
                          <a:sym typeface="Arial" panose="020B0604020202020204" pitchFamily="34" charset="0"/>
                        </a:rPr>
                        <a:t>Projects integrity and confidence, motivating others through team collaboration and recognition of strengths, differences, and contributions </a:t>
                      </a:r>
                      <a:endParaRPr lang="en-US" sz="11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1219170" rtl="0" eaLnBrk="1" fontAlgn="t" latinLnBrk="0" hangingPunct="1">
                        <a:lnSpc>
                          <a:spcPct val="100000"/>
                        </a:lnSpc>
                        <a:spcBef>
                          <a:spcPts val="0"/>
                        </a:spcBef>
                        <a:spcAft>
                          <a:spcPts val="1030"/>
                        </a:spcAft>
                        <a:buFont typeface="Arial" panose="020B0604020202020204" pitchFamily="34" charset="0"/>
                        <a:buChar char="•"/>
                      </a:pPr>
                      <a:r>
                        <a:rPr lang="en-US" sz="1100" b="0" kern="1200">
                          <a:solidFill>
                            <a:schemeClr val="tx1"/>
                          </a:solidFill>
                          <a:latin typeface="Arial" panose="020B0604020202020204" pitchFamily="34" charset="0"/>
                          <a:ea typeface="+mn-ea"/>
                          <a:cs typeface="Arial" panose="020B0604020202020204" pitchFamily="34" charset="0"/>
                          <a:sym typeface="Arial" panose="020B0604020202020204" pitchFamily="34" charset="0"/>
                        </a:rPr>
                        <a:t>Leads with integrity by example and makes a strong positive impact through energizing others, valuing differences and contributions, and inspiring self-belief </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1219170" rtl="0" eaLnBrk="1" fontAlgn="t" latinLnBrk="0" hangingPunct="1">
                        <a:lnSpc>
                          <a:spcPct val="100000"/>
                        </a:lnSpc>
                        <a:spcBef>
                          <a:spcPts val="0"/>
                        </a:spcBef>
                        <a:spcAft>
                          <a:spcPts val="2110"/>
                        </a:spcAft>
                        <a:buFont typeface="Arial" panose="020B0604020202020204" pitchFamily="34" charset="0"/>
                        <a:buChar char="•"/>
                      </a:pPr>
                      <a:r>
                        <a:rPr lang="en-US" sz="1100" b="0" kern="1200">
                          <a:solidFill>
                            <a:schemeClr val="tx1"/>
                          </a:solidFill>
                          <a:latin typeface="Arial" panose="020B0604020202020204" pitchFamily="34" charset="0"/>
                          <a:ea typeface="+mn-ea"/>
                          <a:cs typeface="Arial" panose="020B0604020202020204" pitchFamily="34" charset="0"/>
                          <a:sym typeface="Arial" panose="020B0604020202020204" pitchFamily="34" charset="0"/>
                        </a:rPr>
                        <a:t>Establishes a strong leadership brand and inspires followership through passion, integrity, and appreciation of others </a:t>
                      </a:r>
                      <a:endParaRPr lang="en-US" sz="11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804135"/>
                  </a:ext>
                </a:extLst>
              </a:tr>
              <a:tr h="1032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spira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lnSpc>
                          <a:spcPct val="100000"/>
                        </a:lnSpc>
                        <a:buFont typeface="Arial" panose="020B0604020202020204" pitchFamily="34" charset="0"/>
                        <a:buChar char="•"/>
                      </a:pPr>
                      <a:r>
                        <a:rPr lang="en-GB" sz="1100" b="0" i="0" u="none" strike="noStrike"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s aware of own strengths and limitations; demonstrates passion in their work and interactions with others 	</a:t>
                      </a:r>
                      <a:endParaRPr lang="en-GB" sz="11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GB" sz="11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energy and passion to motivate and set a standard for others </a:t>
                      </a:r>
                    </a:p>
                    <a:p>
                      <a:pPr marL="171450" marR="0" lvl="0" indent="-171450" algn="l" defTabSz="914355" rtl="0" eaLnBrk="1" fontAlgn="t" latinLnBrk="0" hangingPunct="1">
                        <a:lnSpc>
                          <a:spcPct val="100000"/>
                        </a:lnSpc>
                        <a:spcBef>
                          <a:spcPts val="0"/>
                        </a:spcBef>
                        <a:spcAft>
                          <a:spcPts val="0"/>
                        </a:spcAft>
                        <a:buClrTx/>
                        <a:buSzTx/>
                        <a:buFont typeface="Arial" panose="020B0604020202020204" pitchFamily="34" charset="0"/>
                        <a:buChar char="•"/>
                        <a:tabLst/>
                        <a:defRPr/>
                      </a:pPr>
                      <a:r>
                        <a:rPr lang="en-GB" sz="11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Projects enthusiasm,</a:t>
                      </a:r>
                      <a:r>
                        <a:rPr lang="en-GB" sz="1100" b="0" i="0" u="none" strike="noStrike" baseline="0">
                          <a:solidFill>
                            <a:schemeClr val="tx1"/>
                          </a:solidFill>
                          <a:effectLst/>
                          <a:latin typeface="Arial" panose="020B0604020202020204" pitchFamily="34" charset="0"/>
                          <a:cs typeface="Arial" panose="020B0604020202020204" pitchFamily="34" charset="0"/>
                          <a:sym typeface="Arial" panose="020B0604020202020204" pitchFamily="34" charset="0"/>
                        </a:rPr>
                        <a:t> </a:t>
                      </a:r>
                      <a:r>
                        <a:rPr lang="en-GB" sz="11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optimism </a:t>
                      </a:r>
                      <a:r>
                        <a:rPr lang="en-GB" sz="1100" b="0" i="0" u="none" strike="noStrike" baseline="0">
                          <a:solidFill>
                            <a:schemeClr val="tx1"/>
                          </a:solidFill>
                          <a:effectLst/>
                          <a:latin typeface="Arial" panose="020B0604020202020204" pitchFamily="34" charset="0"/>
                          <a:cs typeface="Arial" panose="020B0604020202020204" pitchFamily="34" charset="0"/>
                          <a:sym typeface="Arial" panose="020B0604020202020204" pitchFamily="34" charset="0"/>
                        </a:rPr>
                        <a:t>and commitment to their work and </a:t>
                      </a:r>
                      <a:r>
                        <a:rPr lang="en-GB" sz="11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the teams they are part of</a:t>
                      </a:r>
                    </a:p>
                    <a:p>
                      <a:pPr marL="171450" indent="-171450" algn="l" rtl="0" fontAlgn="t">
                        <a:lnSpc>
                          <a:spcPct val="100000"/>
                        </a:lnSpc>
                        <a:buFont typeface="Arial" panose="020B0604020202020204" pitchFamily="34" charset="0"/>
                        <a:buChar char="•"/>
                      </a:pPr>
                      <a:endParaRPr lang="en-GB" sz="11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GB" sz="11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Is known for building energy and momentum within and across diverse teams </a:t>
                      </a:r>
                      <a:endParaRPr lang="en-GB" sz="11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buFont typeface="Arial" panose="020B0604020202020204" pitchFamily="34" charset="0"/>
                        <a:buChar char="•"/>
                      </a:pPr>
                      <a:r>
                        <a:rPr lang="en-GB" sz="11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Motivates and energizes diverse, cross-business and/or cross-border teams with ample positive energy and proactivity </a:t>
                      </a:r>
                      <a:endParaRPr lang="en-GB" sz="11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0577881"/>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552450" y="172193"/>
            <a:ext cx="11252495" cy="338328"/>
          </a:xfrm>
        </p:spPr>
        <p:txBody>
          <a:bodyPr vert="horz"/>
          <a:lstStyle/>
          <a:p>
            <a:r>
              <a:rPr lang="en-US" sz="2903" dirty="0">
                <a:solidFill>
                  <a:schemeClr val="accent4"/>
                </a:solidFill>
              </a:rPr>
              <a:t>Professional competency| </a:t>
            </a:r>
            <a:r>
              <a:rPr lang="en-US" sz="2903" dirty="0">
                <a:solidFill>
                  <a:schemeClr val="tx1"/>
                </a:solidFill>
              </a:rPr>
              <a:t>Rewire leadership</a:t>
            </a:r>
            <a:r>
              <a:rPr lang="en-US" sz="2903" b="0" i="1" dirty="0">
                <a:solidFill>
                  <a:schemeClr val="tx1"/>
                </a:solidFill>
              </a:rPr>
              <a:t>– behavioral anchors</a:t>
            </a:r>
            <a:endParaRPr lang="en-US" sz="2903" dirty="0">
              <a:solidFill>
                <a:schemeClr val="tx1"/>
              </a:solidFill>
            </a:endParaRPr>
          </a:p>
        </p:txBody>
      </p:sp>
    </p:spTree>
    <p:extLst>
      <p:ext uri="{BB962C8B-B14F-4D97-AF65-F5344CB8AC3E}">
        <p14:creationId xmlns:p14="http://schemas.microsoft.com/office/powerpoint/2010/main" val="33247889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chemeClr val="bg1"/>
            </a:gs>
            <a:gs pos="100000">
              <a:schemeClr val="bg1"/>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2382" y="1588"/>
                        <a:ext cx="1588" cy="1588"/>
                      </a:xfrm>
                      <a:prstGeom prst="rect">
                        <a:avLst/>
                      </a:prstGeom>
                    </p:spPr>
                  </p:pic>
                </p:oleObj>
              </mc:Fallback>
            </mc:AlternateContent>
          </a:graphicData>
        </a:graphic>
      </p:graphicFrame>
      <p:cxnSp>
        <p:nvCxnSpPr>
          <p:cNvPr id="100" name="Verbindingslijn: gebogen 99">
            <a:extLst>
              <a:ext uri="{FF2B5EF4-FFF2-40B4-BE49-F238E27FC236}">
                <a16:creationId xmlns:a16="http://schemas.microsoft.com/office/drawing/2014/main" id="{DDB946C2-51D0-6013-B7B6-18CCDD26CA81}"/>
              </a:ext>
            </a:extLst>
          </p:cNvPr>
          <p:cNvCxnSpPr>
            <a:cxnSpLocks/>
            <a:stCxn id="90" idx="2"/>
            <a:endCxn id="77" idx="0"/>
          </p:cNvCxnSpPr>
          <p:nvPr/>
        </p:nvCxnSpPr>
        <p:spPr>
          <a:xfrm rot="5400000">
            <a:off x="3432620" y="3824142"/>
            <a:ext cx="2080935" cy="12700"/>
          </a:xfrm>
          <a:prstGeom prst="bentConnector3">
            <a:avLst/>
          </a:prstGeom>
          <a:ln w="28575"/>
        </p:spPr>
        <p:style>
          <a:lnRef idx="1">
            <a:schemeClr val="dk1"/>
          </a:lnRef>
          <a:fillRef idx="0">
            <a:schemeClr val="dk1"/>
          </a:fillRef>
          <a:effectRef idx="0">
            <a:schemeClr val="dk1"/>
          </a:effectRef>
          <a:fontRef idx="minor">
            <a:schemeClr val="tx1"/>
          </a:fontRef>
        </p:style>
      </p:cxnSp>
      <p:sp>
        <p:nvSpPr>
          <p:cNvPr id="2" name="Rectangle 1" hidden="1"/>
          <p:cNvSpPr/>
          <p:nvPr>
            <p:custDataLst>
              <p:tags r:id="rId2"/>
            </p:custDataLst>
          </p:nvPr>
        </p:nvSpPr>
        <p:spPr>
          <a:xfrm>
            <a:off x="794"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Rectangle 3">
            <a:extLst>
              <a:ext uri="{FF2B5EF4-FFF2-40B4-BE49-F238E27FC236}">
                <a16:creationId xmlns:a16="http://schemas.microsoft.com/office/drawing/2014/main" id="{FD2A01C7-DFE6-AA0A-D0C8-B22C4E797257}"/>
              </a:ext>
            </a:extLst>
          </p:cNvPr>
          <p:cNvSpPr/>
          <p:nvPr>
            <p:custDataLst>
              <p:tags r:id="rId3"/>
            </p:custDataLst>
          </p:nvPr>
        </p:nvSpPr>
        <p:spPr>
          <a:xfrm>
            <a:off x="634" y="-288030"/>
            <a:ext cx="1152121" cy="230424"/>
          </a:xfrm>
          <a:prstGeom prst="rect">
            <a:avLst/>
          </a:prstGeom>
          <a:noFill/>
          <a:extLst>
            <a:ext uri="{909E8E84-426E-40DD-AFC4-6F175D3DCCD1}">
              <a14:hiddenFill xmlns:a14="http://schemas.microsoft.com/office/drawing/2010/main">
                <a:solidFill>
                  <a:schemeClr val="accent1"/>
                </a:solidFill>
              </a14:hiddenFill>
            </a:ext>
          </a:extLst>
        </p:spPr>
        <p:txBody>
          <a:bodyPr rot="0" spcFirstLastPara="0" vertOverflow="overflow" horzOverflow="overflow" vert="horz" wrap="none" lIns="65317" tIns="65317" rIns="65317" bIns="65317" numCol="1" spcCol="0" rtlCol="0" fromWordArt="0" anchor="t" anchorCtr="0" forceAA="0" compatLnSpc="1">
            <a:prstTxWarp prst="textNoShape">
              <a:avLst/>
            </a:prstTxWarp>
            <a:noAutofit/>
          </a:bodyPr>
          <a:lstStyle/>
          <a:p>
            <a:r>
              <a:rPr lang="en-US" sz="1089" b="1">
                <a:solidFill>
                  <a:srgbClr val="C02A26"/>
                </a:solidFill>
                <a:latin typeface="Arial" panose="020B0604020202020204" pitchFamily="34" charset="0"/>
                <a:cs typeface="Arial" panose="020B0604020202020204" pitchFamily="34" charset="0"/>
                <a:sym typeface="Arial" panose="020B0604020202020204" pitchFamily="34" charset="0"/>
              </a:rPr>
              <a:t>~19 KB / 18,626 KB</a:t>
            </a:r>
          </a:p>
        </p:txBody>
      </p:sp>
      <p:sp>
        <p:nvSpPr>
          <p:cNvPr id="25" name="Tekstvak 24">
            <a:extLst>
              <a:ext uri="{FF2B5EF4-FFF2-40B4-BE49-F238E27FC236}">
                <a16:creationId xmlns:a16="http://schemas.microsoft.com/office/drawing/2014/main" id="{D61050C3-B841-897D-555B-B1EB9D826DCC}"/>
              </a:ext>
            </a:extLst>
          </p:cNvPr>
          <p:cNvSpPr txBox="1"/>
          <p:nvPr/>
        </p:nvSpPr>
        <p:spPr>
          <a:xfrm>
            <a:off x="181735" y="6543785"/>
            <a:ext cx="7837020" cy="829527"/>
          </a:xfrm>
          <a:prstGeom prst="rect">
            <a:avLst/>
          </a:prstGeom>
          <a:noFill/>
          <a:ln w="12700">
            <a:noFill/>
          </a:ln>
        </p:spPr>
        <p:txBody>
          <a:bodyPr wrap="square" lIns="0" tIns="0" rIns="0" bIns="0" rtlCol="0">
            <a:noAutofit/>
          </a:bodyPr>
          <a:lstStyle/>
          <a:p>
            <a:pPr>
              <a:lnSpc>
                <a:spcPts val="1633"/>
              </a:lnSpc>
            </a:pPr>
            <a:r>
              <a:rPr lang="en-US" sz="1089" b="1" baseline="30000" dirty="0">
                <a:latin typeface="Arial" panose="020B0604020202020204" pitchFamily="34" charset="0"/>
                <a:cs typeface="Arial" panose="020B0604020202020204" pitchFamily="34" charset="0"/>
                <a:sym typeface="Arial" panose="020B0604020202020204" pitchFamily="34" charset="0"/>
              </a:rPr>
              <a:t>1</a:t>
            </a:r>
            <a:r>
              <a:rPr lang="en-US" sz="1089" b="1" dirty="0">
                <a:latin typeface="Arial" panose="020B0604020202020204" pitchFamily="34" charset="0"/>
                <a:cs typeface="Arial" panose="020B0604020202020204" pitchFamily="34" charset="0"/>
                <a:sym typeface="Arial" panose="020B0604020202020204" pitchFamily="34" charset="0"/>
              </a:rPr>
              <a:t>Definitions from Gartner</a:t>
            </a:r>
          </a:p>
        </p:txBody>
      </p:sp>
      <p:sp>
        <p:nvSpPr>
          <p:cNvPr id="22" name="ee4pHeader1"/>
          <p:cNvSpPr txBox="1"/>
          <p:nvPr/>
        </p:nvSpPr>
        <p:spPr>
          <a:xfrm>
            <a:off x="8569722" y="1218408"/>
            <a:ext cx="3556832" cy="5446157"/>
          </a:xfrm>
          <a:prstGeom prst="rect">
            <a:avLst/>
          </a:prstGeom>
          <a:noFill/>
        </p:spPr>
        <p:txBody>
          <a:bodyPr wrap="square" lIns="0" tIns="0" rIns="0" bIns="0" rtlCol="0" anchor="t" anchorCtr="0">
            <a:noAutofit/>
          </a:bodyPr>
          <a:lstStyle/>
          <a:p>
            <a:pPr>
              <a:defRPr/>
            </a:pPr>
            <a:r>
              <a:rPr lang="en-US" sz="1600" b="1" dirty="0">
                <a:latin typeface="Arial" panose="020B0604020202020204" pitchFamily="34" charset="0"/>
                <a:cs typeface="Arial" panose="020B0604020202020204" pitchFamily="34" charset="0"/>
                <a:sym typeface="Arial" panose="020B0604020202020204" pitchFamily="34" charset="0"/>
              </a:rPr>
              <a:t>Example of competencies</a:t>
            </a:r>
          </a:p>
          <a:p>
            <a:pPr marL="674004" lvl="1" indent="-259232">
              <a:buFont typeface="Wingdings" panose="05000000000000000000" pitchFamily="2" charset="2"/>
              <a:buChar char="ü"/>
              <a:defRPr/>
            </a:pPr>
            <a:r>
              <a:rPr lang="en-US" sz="1600" i="1" dirty="0">
                <a:latin typeface="Arial" panose="020B0604020202020204" pitchFamily="34" charset="0"/>
                <a:cs typeface="Arial" panose="020B0604020202020204" pitchFamily="34" charset="0"/>
                <a:sym typeface="Arial" panose="020B0604020202020204" pitchFamily="34" charset="0"/>
              </a:rPr>
              <a:t>Analytical and systematic approach to work within deadlines</a:t>
            </a:r>
          </a:p>
          <a:p>
            <a:pPr marL="674004" lvl="1" indent="-259232">
              <a:buFont typeface="Wingdings" panose="05000000000000000000" pitchFamily="2" charset="2"/>
              <a:buChar char="ü"/>
              <a:defRPr/>
            </a:pPr>
            <a:r>
              <a:rPr lang="en-US" sz="1600" i="1" dirty="0">
                <a:latin typeface="Arial" panose="020B0604020202020204" pitchFamily="34" charset="0"/>
                <a:cs typeface="Arial" panose="020B0604020202020204" pitchFamily="34" charset="0"/>
                <a:sym typeface="Arial" panose="020B0604020202020204" pitchFamily="34" charset="0"/>
              </a:rPr>
              <a:t>Interacts with and influences colleagues</a:t>
            </a:r>
          </a:p>
          <a:p>
            <a:pPr marL="674004" lvl="1" indent="-259232">
              <a:buFont typeface="Wingdings" panose="05000000000000000000" pitchFamily="2" charset="2"/>
              <a:buChar char="ü"/>
              <a:defRPr/>
            </a:pPr>
            <a:endParaRPr lang="en-US" sz="1600" i="1" dirty="0">
              <a:latin typeface="Arial" panose="020B0604020202020204" pitchFamily="34" charset="0"/>
              <a:cs typeface="Arial" panose="020B0604020202020204" pitchFamily="34" charset="0"/>
              <a:sym typeface="Arial" panose="020B0604020202020204" pitchFamily="34" charset="0"/>
            </a:endParaRPr>
          </a:p>
          <a:p>
            <a:pPr>
              <a:defRPr/>
            </a:pPr>
            <a:r>
              <a:rPr lang="en-US" sz="1600" b="1" dirty="0">
                <a:latin typeface="Arial" panose="020B0604020202020204" pitchFamily="34" charset="0"/>
                <a:cs typeface="Arial" panose="020B0604020202020204" pitchFamily="34" charset="0"/>
                <a:sym typeface="Arial" panose="020B0604020202020204" pitchFamily="34" charset="0"/>
              </a:rPr>
              <a:t>Examples of capabilities</a:t>
            </a:r>
          </a:p>
          <a:p>
            <a:pPr marL="674004" lvl="1" indent="-259232">
              <a:buFont typeface="Wingdings" panose="05000000000000000000" pitchFamily="2" charset="2"/>
              <a:buChar char="ü"/>
              <a:defRPr/>
            </a:pPr>
            <a:r>
              <a:rPr lang="en-GB" sz="1600" i="1" dirty="0">
                <a:latin typeface="Arial" panose="020B0604020202020204" pitchFamily="34" charset="0"/>
                <a:cs typeface="Arial" panose="020B0604020202020204" pitchFamily="34" charset="0"/>
                <a:sym typeface="Arial" panose="020B0604020202020204" pitchFamily="34" charset="0"/>
              </a:rPr>
              <a:t>Advanced Modeling and Predictive Analytics</a:t>
            </a:r>
          </a:p>
          <a:p>
            <a:pPr marL="674004" lvl="1" indent="-259232">
              <a:buFont typeface="Wingdings" panose="05000000000000000000" pitchFamily="2" charset="2"/>
              <a:buChar char="ü"/>
              <a:defRPr/>
            </a:pPr>
            <a:r>
              <a:rPr lang="en-GB" sz="1600" i="1" dirty="0">
                <a:latin typeface="Arial" panose="020B0604020202020204" pitchFamily="34" charset="0"/>
                <a:cs typeface="Arial" panose="020B0604020202020204" pitchFamily="34" charset="0"/>
                <a:sym typeface="Arial" panose="020B0604020202020204" pitchFamily="34" charset="0"/>
              </a:rPr>
              <a:t>AI Model Deployment and Integration</a:t>
            </a:r>
          </a:p>
          <a:p>
            <a:pPr marL="674004" lvl="1" indent="-259232">
              <a:buFont typeface="Wingdings" panose="05000000000000000000" pitchFamily="2" charset="2"/>
              <a:buChar char="ü"/>
              <a:defRPr/>
            </a:pPr>
            <a:r>
              <a:rPr lang="en-GB" sz="1600" i="1" dirty="0">
                <a:latin typeface="Arial" panose="020B0604020202020204" pitchFamily="34" charset="0"/>
                <a:cs typeface="Arial" panose="020B0604020202020204" pitchFamily="34" charset="0"/>
                <a:sym typeface="Arial" panose="020B0604020202020204" pitchFamily="34" charset="0"/>
              </a:rPr>
              <a:t>AI Ethics and Responsible AI Practices</a:t>
            </a:r>
          </a:p>
          <a:p>
            <a:pPr marL="674004" lvl="1" indent="-259232">
              <a:buFont typeface="Wingdings" panose="05000000000000000000" pitchFamily="2" charset="2"/>
              <a:buChar char="ü"/>
              <a:defRPr/>
            </a:pPr>
            <a:endParaRPr lang="en-GB" sz="1600" i="1" dirty="0">
              <a:latin typeface="Arial" panose="020B0604020202020204" pitchFamily="34" charset="0"/>
              <a:cs typeface="Arial" panose="020B0604020202020204" pitchFamily="34" charset="0"/>
              <a:sym typeface="Arial" panose="020B0604020202020204" pitchFamily="34" charset="0"/>
            </a:endParaRPr>
          </a:p>
          <a:p>
            <a:pPr marL="0" lvl="1">
              <a:defRPr/>
            </a:pPr>
            <a:r>
              <a:rPr lang="en-US" sz="1600" b="1" dirty="0">
                <a:latin typeface="Arial" panose="020B0604020202020204" pitchFamily="34" charset="0"/>
                <a:cs typeface="Arial" panose="020B0604020202020204" pitchFamily="34" charset="0"/>
                <a:sym typeface="Arial" panose="020B0604020202020204" pitchFamily="34" charset="0"/>
              </a:rPr>
              <a:t>Examples of skills</a:t>
            </a:r>
          </a:p>
          <a:p>
            <a:pPr marL="674004" lvl="1" indent="-259232">
              <a:buFont typeface="Wingdings" panose="05000000000000000000" pitchFamily="2" charset="2"/>
              <a:buChar char="ü"/>
              <a:defRPr/>
            </a:pPr>
            <a:r>
              <a:rPr lang="en-US" sz="1600" i="1" dirty="0">
                <a:latin typeface="Arial" panose="020B0604020202020204" pitchFamily="34" charset="0"/>
                <a:cs typeface="Arial" panose="020B0604020202020204" pitchFamily="34" charset="0"/>
                <a:sym typeface="Arial" panose="020B0604020202020204" pitchFamily="34" charset="0"/>
              </a:rPr>
              <a:t>Data Visualization</a:t>
            </a:r>
          </a:p>
          <a:p>
            <a:pPr marL="674004" lvl="1" indent="-259232">
              <a:buFont typeface="Wingdings" panose="05000000000000000000" pitchFamily="2" charset="2"/>
              <a:buChar char="ü"/>
              <a:defRPr/>
            </a:pPr>
            <a:r>
              <a:rPr lang="en-US" sz="1600" i="1" dirty="0">
                <a:latin typeface="Arial" panose="020B0604020202020204" pitchFamily="34" charset="0"/>
                <a:cs typeface="Arial" panose="020B0604020202020204" pitchFamily="34" charset="0"/>
                <a:sym typeface="Arial" panose="020B0604020202020204" pitchFamily="34" charset="0"/>
              </a:rPr>
              <a:t>Data preprocessing and cleaning</a:t>
            </a:r>
          </a:p>
          <a:p>
            <a:pPr marL="674004" lvl="1" indent="-259232">
              <a:buFont typeface="Wingdings" panose="05000000000000000000" pitchFamily="2" charset="2"/>
              <a:buChar char="ü"/>
              <a:defRPr/>
            </a:pPr>
            <a:endParaRPr lang="en-US" sz="1600" i="1" dirty="0">
              <a:latin typeface="Arial" panose="020B0604020202020204" pitchFamily="34" charset="0"/>
              <a:cs typeface="Arial" panose="020B0604020202020204" pitchFamily="34" charset="0"/>
              <a:sym typeface="Arial" panose="020B0604020202020204" pitchFamily="34" charset="0"/>
            </a:endParaRPr>
          </a:p>
          <a:p>
            <a:pPr>
              <a:defRPr/>
            </a:pPr>
            <a:endParaRPr lang="en-US" sz="2177"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3" name="Rechthoek: afgeronde hoeken 22">
            <a:extLst>
              <a:ext uri="{FF2B5EF4-FFF2-40B4-BE49-F238E27FC236}">
                <a16:creationId xmlns:a16="http://schemas.microsoft.com/office/drawing/2014/main" id="{29F04506-D1BE-E57B-6501-6BF371DFACBD}"/>
              </a:ext>
            </a:extLst>
          </p:cNvPr>
          <p:cNvSpPr/>
          <p:nvPr/>
        </p:nvSpPr>
        <p:spPr>
          <a:xfrm>
            <a:off x="3256625" y="1526990"/>
            <a:ext cx="2432926" cy="466400"/>
          </a:xfrm>
          <a:prstGeom prst="roundRect">
            <a:avLst>
              <a:gd name="adj"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Arial" panose="020B0604020202020204" pitchFamily="34" charset="0"/>
                <a:cs typeface="Arial" panose="020B0604020202020204" pitchFamily="34" charset="0"/>
                <a:sym typeface="Arial" panose="020B0604020202020204" pitchFamily="34" charset="0"/>
              </a:rPr>
              <a:t>Capability</a:t>
            </a:r>
          </a:p>
        </p:txBody>
      </p:sp>
      <p:sp>
        <p:nvSpPr>
          <p:cNvPr id="75" name="Rechthoek: afgeronde hoeken 74">
            <a:extLst>
              <a:ext uri="{FF2B5EF4-FFF2-40B4-BE49-F238E27FC236}">
                <a16:creationId xmlns:a16="http://schemas.microsoft.com/office/drawing/2014/main" id="{7C00652F-761D-8228-30D9-8CF62911E6E9}"/>
              </a:ext>
            </a:extLst>
          </p:cNvPr>
          <p:cNvSpPr/>
          <p:nvPr/>
        </p:nvSpPr>
        <p:spPr>
          <a:xfrm>
            <a:off x="3256625" y="3159960"/>
            <a:ext cx="2432926" cy="466400"/>
          </a:xfrm>
          <a:prstGeom prst="roundRect">
            <a:avLst>
              <a:gd name="adj"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latin typeface="Arial" panose="020B0604020202020204" pitchFamily="34" charset="0"/>
                <a:cs typeface="Arial" panose="020B0604020202020204" pitchFamily="34" charset="0"/>
                <a:sym typeface="Arial" panose="020B0604020202020204" pitchFamily="34" charset="0"/>
              </a:rPr>
              <a:t>Competency</a:t>
            </a:r>
          </a:p>
        </p:txBody>
      </p:sp>
      <p:sp>
        <p:nvSpPr>
          <p:cNvPr id="76" name="Rechthoek: afgeronde hoeken 75">
            <a:extLst>
              <a:ext uri="{FF2B5EF4-FFF2-40B4-BE49-F238E27FC236}">
                <a16:creationId xmlns:a16="http://schemas.microsoft.com/office/drawing/2014/main" id="{1DD91AE0-64B6-4E82-AC47-567C30B41E38}"/>
              </a:ext>
            </a:extLst>
          </p:cNvPr>
          <p:cNvSpPr/>
          <p:nvPr/>
        </p:nvSpPr>
        <p:spPr>
          <a:xfrm>
            <a:off x="651937" y="4864610"/>
            <a:ext cx="2432926" cy="466400"/>
          </a:xfrm>
          <a:prstGeom prst="roundRect">
            <a:avLst>
              <a:gd name="adj"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800" dirty="0">
                <a:solidFill>
                  <a:schemeClr val="tx1"/>
                </a:solidFill>
                <a:latin typeface="Arial" panose="020B0604020202020204" pitchFamily="34" charset="0"/>
                <a:cs typeface="Arial" panose="020B0604020202020204" pitchFamily="34" charset="0"/>
                <a:sym typeface="Arial" panose="020B0604020202020204" pitchFamily="34" charset="0"/>
              </a:rPr>
              <a:t>Skill</a:t>
            </a:r>
          </a:p>
        </p:txBody>
      </p:sp>
      <p:sp>
        <p:nvSpPr>
          <p:cNvPr id="77" name="Rechthoek: afgeronde hoeken 76">
            <a:extLst>
              <a:ext uri="{FF2B5EF4-FFF2-40B4-BE49-F238E27FC236}">
                <a16:creationId xmlns:a16="http://schemas.microsoft.com/office/drawing/2014/main" id="{A2FFE12F-0823-965E-1910-CE097393FF7B}"/>
              </a:ext>
            </a:extLst>
          </p:cNvPr>
          <p:cNvSpPr/>
          <p:nvPr/>
        </p:nvSpPr>
        <p:spPr>
          <a:xfrm>
            <a:off x="3256624" y="4864610"/>
            <a:ext cx="2432926" cy="466400"/>
          </a:xfrm>
          <a:prstGeom prst="roundRect">
            <a:avLst>
              <a:gd name="adj"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800" dirty="0">
                <a:solidFill>
                  <a:schemeClr val="tx1"/>
                </a:solidFill>
                <a:latin typeface="Arial" panose="020B0604020202020204" pitchFamily="34" charset="0"/>
                <a:cs typeface="Arial" panose="020B0604020202020204" pitchFamily="34" charset="0"/>
                <a:sym typeface="Arial" panose="020B0604020202020204" pitchFamily="34" charset="0"/>
              </a:rPr>
              <a:t>Knowledge</a:t>
            </a:r>
          </a:p>
        </p:txBody>
      </p:sp>
      <p:sp>
        <p:nvSpPr>
          <p:cNvPr id="78" name="Rechthoek: afgeronde hoeken 77">
            <a:extLst>
              <a:ext uri="{FF2B5EF4-FFF2-40B4-BE49-F238E27FC236}">
                <a16:creationId xmlns:a16="http://schemas.microsoft.com/office/drawing/2014/main" id="{877D079B-3E9E-B08E-52ED-979553E38F65}"/>
              </a:ext>
            </a:extLst>
          </p:cNvPr>
          <p:cNvSpPr/>
          <p:nvPr/>
        </p:nvSpPr>
        <p:spPr>
          <a:xfrm>
            <a:off x="5861312" y="4864610"/>
            <a:ext cx="2432926" cy="466400"/>
          </a:xfrm>
          <a:prstGeom prst="roundRect">
            <a:avLst>
              <a:gd name="adj"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800" dirty="0">
                <a:solidFill>
                  <a:schemeClr val="tx1"/>
                </a:solidFill>
                <a:latin typeface="Arial" panose="020B0604020202020204" pitchFamily="34" charset="0"/>
                <a:cs typeface="Arial" panose="020B0604020202020204" pitchFamily="34" charset="0"/>
                <a:sym typeface="Arial" panose="020B0604020202020204" pitchFamily="34" charset="0"/>
              </a:rPr>
              <a:t>Behavior</a:t>
            </a:r>
          </a:p>
        </p:txBody>
      </p:sp>
      <p:sp>
        <p:nvSpPr>
          <p:cNvPr id="90" name="Rechthoek: afgeronde hoeken 89">
            <a:extLst>
              <a:ext uri="{FF2B5EF4-FFF2-40B4-BE49-F238E27FC236}">
                <a16:creationId xmlns:a16="http://schemas.microsoft.com/office/drawing/2014/main" id="{85B94067-2D53-42EA-21D9-A87FBD2FA2D4}"/>
              </a:ext>
            </a:extLst>
          </p:cNvPr>
          <p:cNvSpPr/>
          <p:nvPr/>
        </p:nvSpPr>
        <p:spPr>
          <a:xfrm>
            <a:off x="3256624" y="1954148"/>
            <a:ext cx="2432926" cy="829527"/>
          </a:xfrm>
          <a:prstGeom prst="roundRect">
            <a:avLst>
              <a:gd name="adj" fmla="val 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rial" panose="020B0604020202020204" pitchFamily="34" charset="0"/>
                <a:cs typeface="Arial" panose="020B0604020202020204" pitchFamily="34" charset="0"/>
                <a:sym typeface="Arial" panose="020B0604020202020204" pitchFamily="34" charset="0"/>
              </a:rPr>
              <a:t>Capabilities are intangible assets that describe an organization’s ability to utilize its talent and other resources to achieve results</a:t>
            </a:r>
          </a:p>
        </p:txBody>
      </p:sp>
      <p:sp>
        <p:nvSpPr>
          <p:cNvPr id="92" name="Rechthoek: afgeronde hoeken 91">
            <a:extLst>
              <a:ext uri="{FF2B5EF4-FFF2-40B4-BE49-F238E27FC236}">
                <a16:creationId xmlns:a16="http://schemas.microsoft.com/office/drawing/2014/main" id="{942B4CD3-BEAA-054A-7892-8CCB2C461ADC}"/>
              </a:ext>
            </a:extLst>
          </p:cNvPr>
          <p:cNvSpPr/>
          <p:nvPr/>
        </p:nvSpPr>
        <p:spPr>
          <a:xfrm>
            <a:off x="3256624" y="3600547"/>
            <a:ext cx="2432926" cy="829527"/>
          </a:xfrm>
          <a:prstGeom prst="roundRect">
            <a:avLst>
              <a:gd name="adj" fmla="val 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rial" panose="020B0604020202020204" pitchFamily="34" charset="0"/>
                <a:cs typeface="Arial" panose="020B0604020202020204" pitchFamily="34" charset="0"/>
                <a:sym typeface="Arial" panose="020B0604020202020204" pitchFamily="34" charset="0"/>
              </a:rPr>
              <a:t>Competencies are a generic mix of knowledge, skills and behaviors as they relate to the characteristics of people who do a certain task or job</a:t>
            </a:r>
          </a:p>
        </p:txBody>
      </p:sp>
      <p:sp>
        <p:nvSpPr>
          <p:cNvPr id="94" name="Rechthoek: afgeronde hoeken 93">
            <a:extLst>
              <a:ext uri="{FF2B5EF4-FFF2-40B4-BE49-F238E27FC236}">
                <a16:creationId xmlns:a16="http://schemas.microsoft.com/office/drawing/2014/main" id="{ABE09738-F744-2E5F-41D5-48B7D6903655}"/>
              </a:ext>
            </a:extLst>
          </p:cNvPr>
          <p:cNvSpPr/>
          <p:nvPr/>
        </p:nvSpPr>
        <p:spPr>
          <a:xfrm>
            <a:off x="3256624" y="5314822"/>
            <a:ext cx="2432926" cy="829527"/>
          </a:xfrm>
          <a:prstGeom prst="roundRect">
            <a:avLst>
              <a:gd name="adj" fmla="val 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rial" panose="020B0604020202020204" pitchFamily="34" charset="0"/>
                <a:cs typeface="Arial" panose="020B0604020202020204" pitchFamily="34" charset="0"/>
                <a:sym typeface="Arial" panose="020B0604020202020204" pitchFamily="34" charset="0"/>
              </a:rPr>
              <a:t>Knowledge is a familiarity with someone or something which can include facts, information or descriptions acquired through experience or education.</a:t>
            </a:r>
          </a:p>
        </p:txBody>
      </p:sp>
      <p:sp>
        <p:nvSpPr>
          <p:cNvPr id="95" name="Rechthoek: afgeronde hoeken 94">
            <a:extLst>
              <a:ext uri="{FF2B5EF4-FFF2-40B4-BE49-F238E27FC236}">
                <a16:creationId xmlns:a16="http://schemas.microsoft.com/office/drawing/2014/main" id="{3BA97377-1B8B-5662-C4AD-E3F5E17BE561}"/>
              </a:ext>
            </a:extLst>
          </p:cNvPr>
          <p:cNvSpPr/>
          <p:nvPr/>
        </p:nvSpPr>
        <p:spPr>
          <a:xfrm>
            <a:off x="651937" y="5314822"/>
            <a:ext cx="2432926" cy="829527"/>
          </a:xfrm>
          <a:prstGeom prst="roundRect">
            <a:avLst>
              <a:gd name="adj" fmla="val 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rial" panose="020B0604020202020204" pitchFamily="34" charset="0"/>
                <a:cs typeface="Arial" panose="020B0604020202020204" pitchFamily="34" charset="0"/>
                <a:sym typeface="Arial" panose="020B0604020202020204" pitchFamily="34" charset="0"/>
              </a:rPr>
              <a:t>Skills are the “how to” procedures and techniques that apply to a specific situation and are typically taught to prepare an individual to perform a job or task</a:t>
            </a:r>
          </a:p>
        </p:txBody>
      </p:sp>
      <p:sp>
        <p:nvSpPr>
          <p:cNvPr id="96" name="Rechthoek: afgeronde hoeken 95">
            <a:extLst>
              <a:ext uri="{FF2B5EF4-FFF2-40B4-BE49-F238E27FC236}">
                <a16:creationId xmlns:a16="http://schemas.microsoft.com/office/drawing/2014/main" id="{A9D22CF2-6318-25EC-52C5-8FF0BB1713B5}"/>
              </a:ext>
            </a:extLst>
          </p:cNvPr>
          <p:cNvSpPr/>
          <p:nvPr/>
        </p:nvSpPr>
        <p:spPr>
          <a:xfrm>
            <a:off x="5861311" y="5314822"/>
            <a:ext cx="2432926" cy="829527"/>
          </a:xfrm>
          <a:prstGeom prst="roundRect">
            <a:avLst>
              <a:gd name="adj" fmla="val 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rial" panose="020B0604020202020204" pitchFamily="34" charset="0"/>
                <a:cs typeface="Arial" panose="020B0604020202020204" pitchFamily="34" charset="0"/>
                <a:sym typeface="Arial" panose="020B0604020202020204" pitchFamily="34" charset="0"/>
              </a:rPr>
              <a:t>Behavior is what a person says or does. It is something that is observable or reportable and does not usually include motives, values, personality or thoughts</a:t>
            </a:r>
          </a:p>
        </p:txBody>
      </p:sp>
      <p:sp>
        <p:nvSpPr>
          <p:cNvPr id="97" name="Text Placeholder 2">
            <a:extLst>
              <a:ext uri="{FF2B5EF4-FFF2-40B4-BE49-F238E27FC236}">
                <a16:creationId xmlns:a16="http://schemas.microsoft.com/office/drawing/2014/main" id="{FC9A3A95-DD85-B0EF-8DA0-437FC686CA1C}"/>
              </a:ext>
            </a:extLst>
          </p:cNvPr>
          <p:cNvSpPr txBox="1">
            <a:spLocks/>
          </p:cNvSpPr>
          <p:nvPr/>
        </p:nvSpPr>
        <p:spPr>
          <a:xfrm>
            <a:off x="715745" y="292159"/>
            <a:ext cx="10917114" cy="327215"/>
          </a:xfrm>
          <a:prstGeom prst="rect">
            <a:avLst/>
          </a:prstGeom>
        </p:spPr>
        <p:txBody>
          <a:bodyPr/>
          <a:lstStyle>
            <a:lvl1pPr marL="225494" indent="-225494" algn="l" defTabSz="226260" rtl="0" eaLnBrk="1" latinLnBrk="0" hangingPunct="1">
              <a:lnSpc>
                <a:spcPct val="100000"/>
              </a:lnSpc>
              <a:spcBef>
                <a:spcPts val="0"/>
              </a:spcBef>
              <a:buFont typeface="Arial" panose="020B0604020202020204" pitchFamily="34" charset="0"/>
              <a:buChar char="•"/>
              <a:tabLst/>
              <a:defRPr sz="1508" kern="1200">
                <a:solidFill>
                  <a:schemeClr val="tx1"/>
                </a:solidFill>
                <a:latin typeface="+mn-lt"/>
                <a:ea typeface="+mn-ea"/>
                <a:cs typeface="+mn-cs"/>
              </a:defRPr>
            </a:lvl1pPr>
            <a:lvl2pPr marL="448992" indent="-223497"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2pPr>
            <a:lvl3pPr marL="674484" indent="-22549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3pPr>
            <a:lvl4pPr marL="903969" indent="-22948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4pPr>
            <a:lvl5pPr marL="1129461" indent="-22549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5pPr>
            <a:lvl6pPr marL="1133437" marR="0" indent="0" algn="l" defTabSz="226260" rtl="0" eaLnBrk="1" fontAlgn="auto" latinLnBrk="0" hangingPunct="1">
              <a:lnSpc>
                <a:spcPct val="100000"/>
              </a:lnSpc>
              <a:spcBef>
                <a:spcPts val="0"/>
              </a:spcBef>
              <a:spcAft>
                <a:spcPts val="0"/>
              </a:spcAft>
              <a:buClrTx/>
              <a:buSzTx/>
              <a:buFont typeface="Arial" panose="020B0604020202020204" pitchFamily="34" charset="0"/>
              <a:buNone/>
              <a:tabLst/>
              <a:defRPr sz="1508" kern="1200">
                <a:solidFill>
                  <a:schemeClr val="tx1"/>
                </a:solidFill>
                <a:latin typeface="+mn-lt"/>
                <a:ea typeface="+mn-ea"/>
                <a:cs typeface="+mn-cs"/>
              </a:defRPr>
            </a:lvl6pPr>
            <a:lvl7pPr marL="1572444" indent="-21950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7pPr>
            <a:lvl8pPr marL="1807912" indent="-235468"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8pPr>
            <a:lvl9pPr marL="2027415" indent="-219504" algn="l" defTabSz="226260" rtl="0" eaLnBrk="1" latinLnBrk="0" hangingPunct="1">
              <a:lnSpc>
                <a:spcPct val="100000"/>
              </a:lnSpc>
              <a:spcBef>
                <a:spcPts val="0"/>
              </a:spcBef>
              <a:buFont typeface="Arial" panose="020B0604020202020204" pitchFamily="34" charset="0"/>
              <a:buChar char="▪"/>
              <a:defRPr sz="1508" kern="1200">
                <a:solidFill>
                  <a:schemeClr val="tx1"/>
                </a:solidFill>
                <a:latin typeface="+mn-lt"/>
                <a:ea typeface="+mn-ea"/>
                <a:cs typeface="+mn-cs"/>
              </a:defRPr>
            </a:lvl9pPr>
          </a:lstStyle>
          <a:p>
            <a:pPr marL="0" indent="0">
              <a:buNone/>
            </a:pPr>
            <a:r>
              <a:rPr lang="en-US" sz="2540" b="1" dirty="0">
                <a:solidFill>
                  <a:schemeClr val="accent6"/>
                </a:solidFill>
                <a:latin typeface="Arial" panose="020B0604020202020204" pitchFamily="34" charset="0"/>
                <a:cs typeface="Arial" panose="020B0604020202020204" pitchFamily="34" charset="0"/>
                <a:sym typeface="Arial" panose="020B0604020202020204" pitchFamily="34" charset="0"/>
              </a:rPr>
              <a:t>WHAT| </a:t>
            </a:r>
            <a:r>
              <a:rPr lang="en-US" sz="2540" b="1" dirty="0">
                <a:latin typeface="Arial" panose="020B0604020202020204" pitchFamily="34" charset="0"/>
                <a:cs typeface="Arial" panose="020B0604020202020204" pitchFamily="34" charset="0"/>
                <a:sym typeface="Arial" panose="020B0604020202020204" pitchFamily="34" charset="0"/>
              </a:rPr>
              <a:t>Competency is the behavior that </a:t>
            </a:r>
            <a:r>
              <a:rPr lang="en-US" sz="2540" b="1" dirty="0">
                <a:solidFill>
                  <a:schemeClr val="tx2"/>
                </a:solidFill>
                <a:latin typeface="Arial" panose="020B0604020202020204" pitchFamily="34" charset="0"/>
                <a:cs typeface="Arial" panose="020B0604020202020204" pitchFamily="34" charset="0"/>
                <a:sym typeface="Arial" panose="020B0604020202020204" pitchFamily="34" charset="0"/>
              </a:rPr>
              <a:t>individuals </a:t>
            </a:r>
            <a:r>
              <a:rPr lang="en-US" sz="2540" b="1" dirty="0">
                <a:latin typeface="Arial" panose="020B0604020202020204" pitchFamily="34" charset="0"/>
                <a:cs typeface="Arial" panose="020B0604020202020204" pitchFamily="34" charset="0"/>
                <a:sym typeface="Arial" panose="020B0604020202020204" pitchFamily="34" charset="0"/>
              </a:rPr>
              <a:t>must have to perform effectively at work</a:t>
            </a:r>
            <a:endParaRPr lang="en-US" sz="1368" dirty="0">
              <a:latin typeface="Arial" panose="020B0604020202020204" pitchFamily="34" charset="0"/>
              <a:cs typeface="Arial" panose="020B0604020202020204" pitchFamily="34" charset="0"/>
              <a:sym typeface="Arial" panose="020B0604020202020204" pitchFamily="34" charset="0"/>
            </a:endParaRPr>
          </a:p>
        </p:txBody>
      </p:sp>
      <p:cxnSp>
        <p:nvCxnSpPr>
          <p:cNvPr id="106" name="Verbindingslijn: gebogen 105">
            <a:extLst>
              <a:ext uri="{FF2B5EF4-FFF2-40B4-BE49-F238E27FC236}">
                <a16:creationId xmlns:a16="http://schemas.microsoft.com/office/drawing/2014/main" id="{768A4715-90DC-F50A-FA5A-D33BF2FF88D0}"/>
              </a:ext>
            </a:extLst>
          </p:cNvPr>
          <p:cNvCxnSpPr>
            <a:cxnSpLocks/>
            <a:stCxn id="92" idx="2"/>
            <a:endCxn id="78" idx="0"/>
          </p:cNvCxnSpPr>
          <p:nvPr/>
        </p:nvCxnSpPr>
        <p:spPr>
          <a:xfrm rot="16200000" flipH="1">
            <a:off x="5558163" y="3344998"/>
            <a:ext cx="434536" cy="2604688"/>
          </a:xfrm>
          <a:prstGeom prst="bentConnector3">
            <a:avLst>
              <a:gd name="adj1" fmla="val 50000"/>
            </a:avLst>
          </a:prstGeom>
          <a:ln w="28575"/>
        </p:spPr>
        <p:style>
          <a:lnRef idx="1">
            <a:schemeClr val="dk1"/>
          </a:lnRef>
          <a:fillRef idx="0">
            <a:schemeClr val="dk1"/>
          </a:fillRef>
          <a:effectRef idx="0">
            <a:schemeClr val="dk1"/>
          </a:effectRef>
          <a:fontRef idx="minor">
            <a:schemeClr val="tx1"/>
          </a:fontRef>
        </p:style>
      </p:cxnSp>
      <p:cxnSp>
        <p:nvCxnSpPr>
          <p:cNvPr id="109" name="Verbindingslijn: gebogen 108">
            <a:extLst>
              <a:ext uri="{FF2B5EF4-FFF2-40B4-BE49-F238E27FC236}">
                <a16:creationId xmlns:a16="http://schemas.microsoft.com/office/drawing/2014/main" id="{5C7D1058-D44E-69D3-DEE0-B8DB91D91994}"/>
              </a:ext>
            </a:extLst>
          </p:cNvPr>
          <p:cNvCxnSpPr>
            <a:cxnSpLocks/>
            <a:stCxn id="92" idx="2"/>
            <a:endCxn id="76" idx="0"/>
          </p:cNvCxnSpPr>
          <p:nvPr/>
        </p:nvCxnSpPr>
        <p:spPr>
          <a:xfrm rot="5400000">
            <a:off x="2953476" y="3344999"/>
            <a:ext cx="434536" cy="2604687"/>
          </a:xfrm>
          <a:prstGeom prst="bentConnector3">
            <a:avLst>
              <a:gd name="adj1" fmla="val 50000"/>
            </a:avLst>
          </a:prstGeom>
          <a:ln w="28575"/>
        </p:spPr>
        <p:style>
          <a:lnRef idx="1">
            <a:schemeClr val="dk1"/>
          </a:lnRef>
          <a:fillRef idx="0">
            <a:schemeClr val="dk1"/>
          </a:fillRef>
          <a:effectRef idx="0">
            <a:schemeClr val="dk1"/>
          </a:effectRef>
          <a:fontRef idx="minor">
            <a:schemeClr val="tx1"/>
          </a:fontRef>
        </p:style>
      </p:cxnSp>
      <p:grpSp>
        <p:nvGrpSpPr>
          <p:cNvPr id="79" name="Group 155">
            <a:extLst>
              <a:ext uri="{FF2B5EF4-FFF2-40B4-BE49-F238E27FC236}">
                <a16:creationId xmlns:a16="http://schemas.microsoft.com/office/drawing/2014/main" id="{4B5375B8-AD81-39EF-6FFD-55196CEA66E0}"/>
              </a:ext>
            </a:extLst>
          </p:cNvPr>
          <p:cNvGrpSpPr>
            <a:grpSpLocks noChangeAspect="1"/>
          </p:cNvGrpSpPr>
          <p:nvPr/>
        </p:nvGrpSpPr>
        <p:grpSpPr bwMode="auto">
          <a:xfrm>
            <a:off x="-1011843" y="1582359"/>
            <a:ext cx="273" cy="327218"/>
            <a:chOff x="5393" y="1555"/>
            <a:chExt cx="273" cy="435"/>
          </a:xfrm>
        </p:grpSpPr>
        <p:sp>
          <p:nvSpPr>
            <p:cNvPr id="80" name="Line 156">
              <a:extLst>
                <a:ext uri="{FF2B5EF4-FFF2-40B4-BE49-F238E27FC236}">
                  <a16:creationId xmlns:a16="http://schemas.microsoft.com/office/drawing/2014/main" id="{491D8E35-5B7F-CD52-81D7-21BD617E7419}"/>
                </a:ext>
              </a:extLst>
            </p:cNvPr>
            <p:cNvSpPr>
              <a:spLocks noChangeShapeType="1"/>
            </p:cNvSpPr>
            <p:nvPr/>
          </p:nvSpPr>
          <p:spPr bwMode="auto">
            <a:xfrm flipV="1">
              <a:off x="5534" y="1923"/>
              <a:ext cx="0" cy="67"/>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sp>
          <p:nvSpPr>
            <p:cNvPr id="81" name="Freeform 157">
              <a:extLst>
                <a:ext uri="{FF2B5EF4-FFF2-40B4-BE49-F238E27FC236}">
                  <a16:creationId xmlns:a16="http://schemas.microsoft.com/office/drawing/2014/main" id="{26F4B7FB-FB9B-3B7D-7142-49FB0125380B}"/>
                </a:ext>
              </a:extLst>
            </p:cNvPr>
            <p:cNvSpPr>
              <a:spLocks/>
            </p:cNvSpPr>
            <p:nvPr/>
          </p:nvSpPr>
          <p:spPr bwMode="auto">
            <a:xfrm>
              <a:off x="5453" y="1777"/>
              <a:ext cx="81" cy="146"/>
            </a:xfrm>
            <a:custGeom>
              <a:avLst/>
              <a:gdLst>
                <a:gd name="T0" fmla="*/ 81 w 81"/>
                <a:gd name="T1" fmla="*/ 146 h 146"/>
                <a:gd name="T2" fmla="*/ 6 w 81"/>
                <a:gd name="T3" fmla="*/ 37 h 146"/>
                <a:gd name="T4" fmla="*/ 0 w 81"/>
                <a:gd name="T5" fmla="*/ 0 h 146"/>
              </a:gdLst>
              <a:ahLst/>
              <a:cxnLst>
                <a:cxn ang="0">
                  <a:pos x="T0" y="T1"/>
                </a:cxn>
                <a:cxn ang="0">
                  <a:pos x="T2" y="T3"/>
                </a:cxn>
                <a:cxn ang="0">
                  <a:pos x="T4" y="T5"/>
                </a:cxn>
              </a:cxnLst>
              <a:rect l="0" t="0" r="r" b="b"/>
              <a:pathLst>
                <a:path w="81" h="146">
                  <a:moveTo>
                    <a:pt x="81" y="146"/>
                  </a:moveTo>
                  <a:lnTo>
                    <a:pt x="6" y="37"/>
                  </a:lnTo>
                  <a:lnTo>
                    <a:pt x="0" y="0"/>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sp>
          <p:nvSpPr>
            <p:cNvPr id="82" name="Freeform 158">
              <a:extLst>
                <a:ext uri="{FF2B5EF4-FFF2-40B4-BE49-F238E27FC236}">
                  <a16:creationId xmlns:a16="http://schemas.microsoft.com/office/drawing/2014/main" id="{4F301B88-B3F0-2D30-FF20-D4840B188D07}"/>
                </a:ext>
              </a:extLst>
            </p:cNvPr>
            <p:cNvSpPr>
              <a:spLocks/>
            </p:cNvSpPr>
            <p:nvPr/>
          </p:nvSpPr>
          <p:spPr bwMode="auto">
            <a:xfrm>
              <a:off x="5534" y="1782"/>
              <a:ext cx="80" cy="141"/>
            </a:xfrm>
            <a:custGeom>
              <a:avLst/>
              <a:gdLst>
                <a:gd name="T0" fmla="*/ 0 w 80"/>
                <a:gd name="T1" fmla="*/ 141 h 141"/>
                <a:gd name="T2" fmla="*/ 73 w 80"/>
                <a:gd name="T3" fmla="*/ 32 h 141"/>
                <a:gd name="T4" fmla="*/ 80 w 80"/>
                <a:gd name="T5" fmla="*/ 0 h 141"/>
              </a:gdLst>
              <a:ahLst/>
              <a:cxnLst>
                <a:cxn ang="0">
                  <a:pos x="T0" y="T1"/>
                </a:cxn>
                <a:cxn ang="0">
                  <a:pos x="T2" y="T3"/>
                </a:cxn>
                <a:cxn ang="0">
                  <a:pos x="T4" y="T5"/>
                </a:cxn>
              </a:cxnLst>
              <a:rect l="0" t="0" r="r" b="b"/>
              <a:pathLst>
                <a:path w="80" h="141">
                  <a:moveTo>
                    <a:pt x="0" y="141"/>
                  </a:moveTo>
                  <a:lnTo>
                    <a:pt x="73" y="32"/>
                  </a:lnTo>
                  <a:lnTo>
                    <a:pt x="80" y="0"/>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sp>
          <p:nvSpPr>
            <p:cNvPr id="83" name="Freeform 159">
              <a:extLst>
                <a:ext uri="{FF2B5EF4-FFF2-40B4-BE49-F238E27FC236}">
                  <a16:creationId xmlns:a16="http://schemas.microsoft.com/office/drawing/2014/main" id="{18007AC7-AE04-DC1F-20D2-B15CF9DFE7A6}"/>
                </a:ext>
              </a:extLst>
            </p:cNvPr>
            <p:cNvSpPr>
              <a:spLocks/>
            </p:cNvSpPr>
            <p:nvPr/>
          </p:nvSpPr>
          <p:spPr bwMode="auto">
            <a:xfrm>
              <a:off x="5487" y="1765"/>
              <a:ext cx="47" cy="158"/>
            </a:xfrm>
            <a:custGeom>
              <a:avLst/>
              <a:gdLst>
                <a:gd name="T0" fmla="*/ 0 w 47"/>
                <a:gd name="T1" fmla="*/ 0 h 158"/>
                <a:gd name="T2" fmla="*/ 4 w 47"/>
                <a:gd name="T3" fmla="*/ 51 h 158"/>
                <a:gd name="T4" fmla="*/ 47 w 47"/>
                <a:gd name="T5" fmla="*/ 158 h 158"/>
              </a:gdLst>
              <a:ahLst/>
              <a:cxnLst>
                <a:cxn ang="0">
                  <a:pos x="T0" y="T1"/>
                </a:cxn>
                <a:cxn ang="0">
                  <a:pos x="T2" y="T3"/>
                </a:cxn>
                <a:cxn ang="0">
                  <a:pos x="T4" y="T5"/>
                </a:cxn>
              </a:cxnLst>
              <a:rect l="0" t="0" r="r" b="b"/>
              <a:pathLst>
                <a:path w="47" h="158">
                  <a:moveTo>
                    <a:pt x="0" y="0"/>
                  </a:moveTo>
                  <a:lnTo>
                    <a:pt x="4" y="51"/>
                  </a:lnTo>
                  <a:lnTo>
                    <a:pt x="47" y="158"/>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sp>
          <p:nvSpPr>
            <p:cNvPr id="84" name="Freeform 160">
              <a:extLst>
                <a:ext uri="{FF2B5EF4-FFF2-40B4-BE49-F238E27FC236}">
                  <a16:creationId xmlns:a16="http://schemas.microsoft.com/office/drawing/2014/main" id="{7E5FC4B8-56A1-756F-A043-2C67DE3C107B}"/>
                </a:ext>
              </a:extLst>
            </p:cNvPr>
            <p:cNvSpPr>
              <a:spLocks/>
            </p:cNvSpPr>
            <p:nvPr/>
          </p:nvSpPr>
          <p:spPr bwMode="auto">
            <a:xfrm>
              <a:off x="5534" y="1768"/>
              <a:ext cx="45" cy="155"/>
            </a:xfrm>
            <a:custGeom>
              <a:avLst/>
              <a:gdLst>
                <a:gd name="T0" fmla="*/ 45 w 45"/>
                <a:gd name="T1" fmla="*/ 0 h 155"/>
                <a:gd name="T2" fmla="*/ 43 w 45"/>
                <a:gd name="T3" fmla="*/ 48 h 155"/>
                <a:gd name="T4" fmla="*/ 0 w 45"/>
                <a:gd name="T5" fmla="*/ 155 h 155"/>
              </a:gdLst>
              <a:ahLst/>
              <a:cxnLst>
                <a:cxn ang="0">
                  <a:pos x="T0" y="T1"/>
                </a:cxn>
                <a:cxn ang="0">
                  <a:pos x="T2" y="T3"/>
                </a:cxn>
                <a:cxn ang="0">
                  <a:pos x="T4" y="T5"/>
                </a:cxn>
              </a:cxnLst>
              <a:rect l="0" t="0" r="r" b="b"/>
              <a:pathLst>
                <a:path w="45" h="155">
                  <a:moveTo>
                    <a:pt x="45" y="0"/>
                  </a:moveTo>
                  <a:lnTo>
                    <a:pt x="43" y="48"/>
                  </a:lnTo>
                  <a:lnTo>
                    <a:pt x="0" y="155"/>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sp>
          <p:nvSpPr>
            <p:cNvPr id="85" name="Freeform 161">
              <a:extLst>
                <a:ext uri="{FF2B5EF4-FFF2-40B4-BE49-F238E27FC236}">
                  <a16:creationId xmlns:a16="http://schemas.microsoft.com/office/drawing/2014/main" id="{A30656BD-9625-497E-3F38-668AB7D946B0}"/>
                </a:ext>
              </a:extLst>
            </p:cNvPr>
            <p:cNvSpPr>
              <a:spLocks/>
            </p:cNvSpPr>
            <p:nvPr/>
          </p:nvSpPr>
          <p:spPr bwMode="auto">
            <a:xfrm>
              <a:off x="5509" y="1765"/>
              <a:ext cx="50" cy="37"/>
            </a:xfrm>
            <a:custGeom>
              <a:avLst/>
              <a:gdLst>
                <a:gd name="T0" fmla="*/ 0 w 50"/>
                <a:gd name="T1" fmla="*/ 0 h 37"/>
                <a:gd name="T2" fmla="*/ 12 w 50"/>
                <a:gd name="T3" fmla="*/ 37 h 37"/>
                <a:gd name="T4" fmla="*/ 37 w 50"/>
                <a:gd name="T5" fmla="*/ 37 h 37"/>
                <a:gd name="T6" fmla="*/ 50 w 50"/>
                <a:gd name="T7" fmla="*/ 0 h 37"/>
              </a:gdLst>
              <a:ahLst/>
              <a:cxnLst>
                <a:cxn ang="0">
                  <a:pos x="T0" y="T1"/>
                </a:cxn>
                <a:cxn ang="0">
                  <a:pos x="T2" y="T3"/>
                </a:cxn>
                <a:cxn ang="0">
                  <a:pos x="T4" y="T5"/>
                </a:cxn>
                <a:cxn ang="0">
                  <a:pos x="T6" y="T7"/>
                </a:cxn>
              </a:cxnLst>
              <a:rect l="0" t="0" r="r" b="b"/>
              <a:pathLst>
                <a:path w="50" h="37">
                  <a:moveTo>
                    <a:pt x="0" y="0"/>
                  </a:moveTo>
                  <a:lnTo>
                    <a:pt x="12" y="37"/>
                  </a:lnTo>
                  <a:lnTo>
                    <a:pt x="37" y="37"/>
                  </a:lnTo>
                  <a:lnTo>
                    <a:pt x="50" y="0"/>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sp>
          <p:nvSpPr>
            <p:cNvPr id="86" name="Line 162">
              <a:extLst>
                <a:ext uri="{FF2B5EF4-FFF2-40B4-BE49-F238E27FC236}">
                  <a16:creationId xmlns:a16="http://schemas.microsoft.com/office/drawing/2014/main" id="{9598C1E8-3BC4-0564-9ACB-A637904AAE22}"/>
                </a:ext>
              </a:extLst>
            </p:cNvPr>
            <p:cNvSpPr>
              <a:spLocks noChangeShapeType="1"/>
            </p:cNvSpPr>
            <p:nvPr/>
          </p:nvSpPr>
          <p:spPr bwMode="auto">
            <a:xfrm flipH="1">
              <a:off x="5514" y="1802"/>
              <a:ext cx="7" cy="68"/>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sp>
          <p:nvSpPr>
            <p:cNvPr id="87" name="Line 163">
              <a:extLst>
                <a:ext uri="{FF2B5EF4-FFF2-40B4-BE49-F238E27FC236}">
                  <a16:creationId xmlns:a16="http://schemas.microsoft.com/office/drawing/2014/main" id="{2BEB249C-EDF0-B20E-C9E2-FA58B3BE7D06}"/>
                </a:ext>
              </a:extLst>
            </p:cNvPr>
            <p:cNvSpPr>
              <a:spLocks noChangeShapeType="1"/>
            </p:cNvSpPr>
            <p:nvPr/>
          </p:nvSpPr>
          <p:spPr bwMode="auto">
            <a:xfrm>
              <a:off x="5546" y="1802"/>
              <a:ext cx="9" cy="69"/>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sp>
          <p:nvSpPr>
            <p:cNvPr id="88" name="Freeform 164">
              <a:extLst>
                <a:ext uri="{FF2B5EF4-FFF2-40B4-BE49-F238E27FC236}">
                  <a16:creationId xmlns:a16="http://schemas.microsoft.com/office/drawing/2014/main" id="{5B3124CD-0088-FEFA-6D65-B64AF0581A9A}"/>
                </a:ext>
              </a:extLst>
            </p:cNvPr>
            <p:cNvSpPr>
              <a:spLocks/>
            </p:cNvSpPr>
            <p:nvPr/>
          </p:nvSpPr>
          <p:spPr bwMode="auto">
            <a:xfrm>
              <a:off x="5393" y="1759"/>
              <a:ext cx="273" cy="231"/>
            </a:xfrm>
            <a:custGeom>
              <a:avLst/>
              <a:gdLst>
                <a:gd name="T0" fmla="*/ 0 w 153"/>
                <a:gd name="T1" fmla="*/ 62 h 130"/>
                <a:gd name="T2" fmla="*/ 0 w 153"/>
                <a:gd name="T3" fmla="*/ 113 h 130"/>
                <a:gd name="T4" fmla="*/ 76 w 153"/>
                <a:gd name="T5" fmla="*/ 130 h 130"/>
                <a:gd name="T6" fmla="*/ 153 w 153"/>
                <a:gd name="T7" fmla="*/ 114 h 130"/>
                <a:gd name="T8" fmla="*/ 153 w 153"/>
                <a:gd name="T9" fmla="*/ 62 h 130"/>
                <a:gd name="T10" fmla="*/ 76 w 153"/>
                <a:gd name="T11" fmla="*/ 0 h 130"/>
                <a:gd name="T12" fmla="*/ 0 w 153"/>
                <a:gd name="T13" fmla="*/ 62 h 130"/>
              </a:gdLst>
              <a:ahLst/>
              <a:cxnLst>
                <a:cxn ang="0">
                  <a:pos x="T0" y="T1"/>
                </a:cxn>
                <a:cxn ang="0">
                  <a:pos x="T2" y="T3"/>
                </a:cxn>
                <a:cxn ang="0">
                  <a:pos x="T4" y="T5"/>
                </a:cxn>
                <a:cxn ang="0">
                  <a:pos x="T6" y="T7"/>
                </a:cxn>
                <a:cxn ang="0">
                  <a:pos x="T8" y="T9"/>
                </a:cxn>
                <a:cxn ang="0">
                  <a:pos x="T10" y="T11"/>
                </a:cxn>
                <a:cxn ang="0">
                  <a:pos x="T12" y="T13"/>
                </a:cxn>
              </a:cxnLst>
              <a:rect l="0" t="0" r="r" b="b"/>
              <a:pathLst>
                <a:path w="153" h="130">
                  <a:moveTo>
                    <a:pt x="0" y="62"/>
                  </a:moveTo>
                  <a:cubicBezTo>
                    <a:pt x="0" y="113"/>
                    <a:pt x="0" y="113"/>
                    <a:pt x="0" y="113"/>
                  </a:cubicBezTo>
                  <a:cubicBezTo>
                    <a:pt x="0" y="113"/>
                    <a:pt x="35" y="130"/>
                    <a:pt x="76" y="130"/>
                  </a:cubicBezTo>
                  <a:cubicBezTo>
                    <a:pt x="102" y="130"/>
                    <a:pt x="128" y="125"/>
                    <a:pt x="153" y="114"/>
                  </a:cubicBezTo>
                  <a:cubicBezTo>
                    <a:pt x="153" y="114"/>
                    <a:pt x="153" y="70"/>
                    <a:pt x="153" y="62"/>
                  </a:cubicBezTo>
                  <a:cubicBezTo>
                    <a:pt x="153" y="27"/>
                    <a:pt x="122" y="0"/>
                    <a:pt x="76" y="0"/>
                  </a:cubicBezTo>
                  <a:cubicBezTo>
                    <a:pt x="30" y="0"/>
                    <a:pt x="0" y="27"/>
                    <a:pt x="0" y="62"/>
                  </a:cubicBez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sp>
          <p:nvSpPr>
            <p:cNvPr id="89" name="Oval 165">
              <a:extLst>
                <a:ext uri="{FF2B5EF4-FFF2-40B4-BE49-F238E27FC236}">
                  <a16:creationId xmlns:a16="http://schemas.microsoft.com/office/drawing/2014/main" id="{43B31B9C-AB2C-C0CF-C73C-C8A652414E7C}"/>
                </a:ext>
              </a:extLst>
            </p:cNvPr>
            <p:cNvSpPr>
              <a:spLocks noChangeArrowheads="1"/>
            </p:cNvSpPr>
            <p:nvPr/>
          </p:nvSpPr>
          <p:spPr bwMode="auto">
            <a:xfrm>
              <a:off x="5446" y="1555"/>
              <a:ext cx="165" cy="174"/>
            </a:xfrm>
            <a:prstGeom prst="ellipse">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endParaRPr lang="en-US" sz="816">
                <a:latin typeface="Arial" panose="020B0604020202020204" pitchFamily="34" charset="0"/>
                <a:cs typeface="Arial" panose="020B0604020202020204" pitchFamily="34" charset="0"/>
                <a:sym typeface="Arial" panose="020B0604020202020204" pitchFamily="34" charset="0"/>
              </a:endParaRPr>
            </a:p>
          </p:txBody>
        </p:sp>
      </p:grpSp>
      <p:sp>
        <p:nvSpPr>
          <p:cNvPr id="120" name="Rechthoek: afgeronde hoeken 119">
            <a:extLst>
              <a:ext uri="{FF2B5EF4-FFF2-40B4-BE49-F238E27FC236}">
                <a16:creationId xmlns:a16="http://schemas.microsoft.com/office/drawing/2014/main" id="{B0DCE662-9DBE-DC70-5BC4-059BEC5F183B}"/>
              </a:ext>
            </a:extLst>
          </p:cNvPr>
          <p:cNvSpPr/>
          <p:nvPr/>
        </p:nvSpPr>
        <p:spPr>
          <a:xfrm>
            <a:off x="819511" y="6246805"/>
            <a:ext cx="2097780" cy="29697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sym typeface="Arial" panose="020B0604020202020204" pitchFamily="34" charset="0"/>
              </a:rPr>
              <a:t>Python Programming</a:t>
            </a:r>
          </a:p>
        </p:txBody>
      </p:sp>
      <p:sp>
        <p:nvSpPr>
          <p:cNvPr id="121" name="Rechthoek: afgeronde hoeken 120">
            <a:extLst>
              <a:ext uri="{FF2B5EF4-FFF2-40B4-BE49-F238E27FC236}">
                <a16:creationId xmlns:a16="http://schemas.microsoft.com/office/drawing/2014/main" id="{804675DC-D63A-001B-9573-D0B601A1A4B8}"/>
              </a:ext>
            </a:extLst>
          </p:cNvPr>
          <p:cNvSpPr/>
          <p:nvPr/>
        </p:nvSpPr>
        <p:spPr>
          <a:xfrm>
            <a:off x="3424198" y="6246805"/>
            <a:ext cx="2097780" cy="29697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sym typeface="Arial" panose="020B0604020202020204" pitchFamily="34" charset="0"/>
              </a:rPr>
              <a:t>Theory of Machine Learning models</a:t>
            </a:r>
          </a:p>
        </p:txBody>
      </p:sp>
      <p:sp>
        <p:nvSpPr>
          <p:cNvPr id="122" name="Rechthoek: afgeronde hoeken 121">
            <a:extLst>
              <a:ext uri="{FF2B5EF4-FFF2-40B4-BE49-F238E27FC236}">
                <a16:creationId xmlns:a16="http://schemas.microsoft.com/office/drawing/2014/main" id="{D0EDCB1A-8B9D-D1E5-134D-E848A1BFB450}"/>
              </a:ext>
            </a:extLst>
          </p:cNvPr>
          <p:cNvSpPr/>
          <p:nvPr/>
        </p:nvSpPr>
        <p:spPr>
          <a:xfrm>
            <a:off x="6028885" y="6246805"/>
            <a:ext cx="2097780" cy="29697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sym typeface="Arial" panose="020B0604020202020204" pitchFamily="34" charset="0"/>
              </a:rPr>
              <a:t>Collaboration with client to validate &amp; understand churn data</a:t>
            </a:r>
          </a:p>
        </p:txBody>
      </p:sp>
      <p:sp>
        <p:nvSpPr>
          <p:cNvPr id="123" name="Rechthoek: afgeronde hoeken 122">
            <a:extLst>
              <a:ext uri="{FF2B5EF4-FFF2-40B4-BE49-F238E27FC236}">
                <a16:creationId xmlns:a16="http://schemas.microsoft.com/office/drawing/2014/main" id="{5B95057C-B3AE-97F5-FDC8-CD2EB628DF8A}"/>
              </a:ext>
            </a:extLst>
          </p:cNvPr>
          <p:cNvSpPr/>
          <p:nvPr/>
        </p:nvSpPr>
        <p:spPr>
          <a:xfrm>
            <a:off x="1093824" y="3199553"/>
            <a:ext cx="2068032" cy="30199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sym typeface="Arial" panose="020B0604020202020204" pitchFamily="34" charset="0"/>
              </a:rPr>
              <a:t>Deployment of a churn prediction model with an impact</a:t>
            </a:r>
          </a:p>
        </p:txBody>
      </p:sp>
      <p:sp>
        <p:nvSpPr>
          <p:cNvPr id="124" name="Rechthoek: afgeronde hoeken 123">
            <a:extLst>
              <a:ext uri="{FF2B5EF4-FFF2-40B4-BE49-F238E27FC236}">
                <a16:creationId xmlns:a16="http://schemas.microsoft.com/office/drawing/2014/main" id="{5D819896-12B4-2579-F8AA-375ED740170E}"/>
              </a:ext>
            </a:extLst>
          </p:cNvPr>
          <p:cNvSpPr/>
          <p:nvPr/>
        </p:nvSpPr>
        <p:spPr>
          <a:xfrm>
            <a:off x="999539" y="1598508"/>
            <a:ext cx="2068032" cy="30199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latin typeface="Arial" panose="020B0604020202020204" pitchFamily="34" charset="0"/>
                <a:cs typeface="Arial" panose="020B0604020202020204" pitchFamily="34" charset="0"/>
                <a:sym typeface="Arial" panose="020B0604020202020204" pitchFamily="34" charset="0"/>
              </a:rPr>
              <a:t>Expertise in developing machine learning algorithms,</a:t>
            </a:r>
            <a:endParaRPr lang="en-US" b="1"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6" name="Afbeelding 5" descr="Afbeelding met zwart, duisternis&#10;&#10;Automatisch gegenereerde beschrijving">
            <a:extLst>
              <a:ext uri="{FF2B5EF4-FFF2-40B4-BE49-F238E27FC236}">
                <a16:creationId xmlns:a16="http://schemas.microsoft.com/office/drawing/2014/main" id="{C825D5EB-FE5C-9C2F-3B99-299B2A6D87A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877878" y="4806107"/>
            <a:ext cx="583406" cy="583406"/>
          </a:xfrm>
          <a:prstGeom prst="rect">
            <a:avLst/>
          </a:prstGeom>
        </p:spPr>
      </p:pic>
      <p:pic>
        <p:nvPicPr>
          <p:cNvPr id="8" name="Afbeelding 7" descr="Afbeelding met zwart, duisternis&#10;&#10;Automatisch gegenereerde beschrijving">
            <a:extLst>
              <a:ext uri="{FF2B5EF4-FFF2-40B4-BE49-F238E27FC236}">
                <a16:creationId xmlns:a16="http://schemas.microsoft.com/office/drawing/2014/main" id="{43EF7FCF-CDDF-B7CE-E584-F32DAD6F4E95}"/>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281173" y="4774438"/>
            <a:ext cx="649583" cy="649583"/>
          </a:xfrm>
          <a:prstGeom prst="rect">
            <a:avLst/>
          </a:prstGeom>
        </p:spPr>
      </p:pic>
      <p:pic>
        <p:nvPicPr>
          <p:cNvPr id="10" name="Afbeelding 9" descr="Afbeelding met zwart, duisternis&#10;&#10;Automatisch gegenereerde beschrijving">
            <a:extLst>
              <a:ext uri="{FF2B5EF4-FFF2-40B4-BE49-F238E27FC236}">
                <a16:creationId xmlns:a16="http://schemas.microsoft.com/office/drawing/2014/main" id="{FA7BA9AA-DB6A-BF74-38E6-E0D29E968BC5}"/>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3339571" y="3199112"/>
            <a:ext cx="397895" cy="397895"/>
          </a:xfrm>
          <a:prstGeom prst="rect">
            <a:avLst/>
          </a:prstGeom>
        </p:spPr>
      </p:pic>
      <p:pic>
        <p:nvPicPr>
          <p:cNvPr id="12" name="Afbeelding 11" descr="Afbeelding met zwart, duisternis&#10;&#10;Automatisch gegenereerde beschrijving">
            <a:extLst>
              <a:ext uri="{FF2B5EF4-FFF2-40B4-BE49-F238E27FC236}">
                <a16:creationId xmlns:a16="http://schemas.microsoft.com/office/drawing/2014/main" id="{40C41225-14A0-A390-8405-8438F9B33C0A}"/>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708329" y="4787564"/>
            <a:ext cx="654035" cy="654035"/>
          </a:xfrm>
          <a:prstGeom prst="rect">
            <a:avLst/>
          </a:prstGeom>
        </p:spPr>
      </p:pic>
      <p:pic>
        <p:nvPicPr>
          <p:cNvPr id="14" name="Afbeelding 13" descr="Afbeelding met zwart, duisternis&#10;&#10;Automatisch gegenereerde beschrijving">
            <a:extLst>
              <a:ext uri="{FF2B5EF4-FFF2-40B4-BE49-F238E27FC236}">
                <a16:creationId xmlns:a16="http://schemas.microsoft.com/office/drawing/2014/main" id="{337B1F81-4E2B-08F3-A7C7-5B8A5352A566}"/>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3292052" y="1487749"/>
            <a:ext cx="518184" cy="518184"/>
          </a:xfrm>
          <a:prstGeom prst="rect">
            <a:avLst/>
          </a:prstGeom>
        </p:spPr>
      </p:pic>
    </p:spTree>
    <p:extLst>
      <p:ext uri="{BB962C8B-B14F-4D97-AF65-F5344CB8AC3E}">
        <p14:creationId xmlns:p14="http://schemas.microsoft.com/office/powerpoint/2010/main" val="4133229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1E27A1-7D4D-50C8-0F45-DC636378EE29}"/>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B3828526-AA0C-C75B-8162-772F126C18A5}"/>
              </a:ext>
            </a:extLst>
          </p:cNvPr>
          <p:cNvGraphicFramePr>
            <a:graphicFrameLocks noChangeAspect="1"/>
          </p:cNvGraphicFramePr>
          <p:nvPr>
            <p:custDataLst>
              <p:tags r:id="rId1"/>
            </p:custDataLst>
            <p:extLst>
              <p:ext uri="{D42A27DB-BD31-4B8C-83A1-F6EECF244321}">
                <p14:modId xmlns:p14="http://schemas.microsoft.com/office/powerpoint/2010/main" val="2755122341"/>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1" name="think-cell data - do not delete" hidden="1">
                        <a:extLst>
                          <a:ext uri="{FF2B5EF4-FFF2-40B4-BE49-F238E27FC236}">
                            <a16:creationId xmlns:a16="http://schemas.microsoft.com/office/drawing/2014/main" id="{B3828526-AA0C-C75B-8162-772F126C18A5}"/>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sp>
        <p:nvSpPr>
          <p:cNvPr id="2" name="Tijdelijke aanduiding voor voettekst 1">
            <a:extLst>
              <a:ext uri="{FF2B5EF4-FFF2-40B4-BE49-F238E27FC236}">
                <a16:creationId xmlns:a16="http://schemas.microsoft.com/office/drawing/2014/main" id="{6971C213-B31F-DE1D-6889-5669BA23C62E}"/>
              </a:ext>
            </a:extLst>
          </p:cNvPr>
          <p:cNvSpPr>
            <a:spLocks noGrp="1"/>
          </p:cNvSpPr>
          <p:nvPr>
            <p:ph type="ftr" sz="quarter" idx="3"/>
          </p:nvPr>
        </p:nvSpPr>
        <p:spPr>
          <a:xfrm>
            <a:off x="715745" y="6356828"/>
            <a:ext cx="3859605" cy="292247"/>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Rewire.nl | Scaling impact from Data &amp; AI</a:t>
            </a:r>
          </a:p>
        </p:txBody>
      </p:sp>
      <p:sp>
        <p:nvSpPr>
          <p:cNvPr id="3" name="Tijdelijke aanduiding voor tekst 2">
            <a:extLst>
              <a:ext uri="{FF2B5EF4-FFF2-40B4-BE49-F238E27FC236}">
                <a16:creationId xmlns:a16="http://schemas.microsoft.com/office/drawing/2014/main" id="{85906AA9-27BC-35E1-2927-D61DFEF9855D}"/>
              </a:ext>
            </a:extLst>
          </p:cNvPr>
          <p:cNvSpPr>
            <a:spLocks noGrp="1"/>
          </p:cNvSpPr>
          <p:nvPr>
            <p:ph type="body" sz="quarter" idx="20"/>
          </p:nvPr>
        </p:nvSpPr>
        <p:spPr>
          <a:xfrm>
            <a:off x="715185" y="791954"/>
            <a:ext cx="10188955" cy="326517"/>
          </a:xfrm>
        </p:spPr>
        <p:txBody>
          <a:bodyPr/>
          <a:lstStyle/>
          <a:p>
            <a:pPr marL="0" indent="0"/>
            <a:r>
              <a:rPr lang="en-US" b="1" dirty="0">
                <a:latin typeface="Arial" panose="020B0604020202020204" pitchFamily="34" charset="0"/>
                <a:cs typeface="Arial" panose="020B0604020202020204" pitchFamily="34" charset="0"/>
                <a:sym typeface="Arial" panose="020B0604020202020204" pitchFamily="34" charset="0"/>
              </a:rPr>
              <a:t>Competencies and capabilities are defined around three pillars of Rewire’s growth</a:t>
            </a:r>
          </a:p>
        </p:txBody>
      </p:sp>
      <p:sp>
        <p:nvSpPr>
          <p:cNvPr id="7" name="Rectangle: Rounded Corners 11">
            <a:extLst>
              <a:ext uri="{FF2B5EF4-FFF2-40B4-BE49-F238E27FC236}">
                <a16:creationId xmlns:a16="http://schemas.microsoft.com/office/drawing/2014/main" id="{73616922-D188-1E13-33D9-08D0AA68C141}"/>
              </a:ext>
            </a:extLst>
          </p:cNvPr>
          <p:cNvSpPr/>
          <p:nvPr/>
        </p:nvSpPr>
        <p:spPr>
          <a:xfrm>
            <a:off x="8295926" y="2710409"/>
            <a:ext cx="297436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Client Leadership</a:t>
            </a:r>
          </a:p>
        </p:txBody>
      </p:sp>
      <p:sp>
        <p:nvSpPr>
          <p:cNvPr id="8" name="Rectangle: Rounded Corners 11">
            <a:extLst>
              <a:ext uri="{FF2B5EF4-FFF2-40B4-BE49-F238E27FC236}">
                <a16:creationId xmlns:a16="http://schemas.microsoft.com/office/drawing/2014/main" id="{C7AA5441-A836-73B6-CDD2-36FEA7F02DFC}"/>
              </a:ext>
            </a:extLst>
          </p:cNvPr>
          <p:cNvSpPr/>
          <p:nvPr/>
        </p:nvSpPr>
        <p:spPr>
          <a:xfrm>
            <a:off x="8295926" y="3495089"/>
            <a:ext cx="297436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Personal Leadership</a:t>
            </a:r>
          </a:p>
        </p:txBody>
      </p:sp>
      <p:sp>
        <p:nvSpPr>
          <p:cNvPr id="9" name="Rectangle: Rounded Corners 11">
            <a:extLst>
              <a:ext uri="{FF2B5EF4-FFF2-40B4-BE49-F238E27FC236}">
                <a16:creationId xmlns:a16="http://schemas.microsoft.com/office/drawing/2014/main" id="{09EC8292-3024-B433-5904-AD38DE4C2C87}"/>
              </a:ext>
            </a:extLst>
          </p:cNvPr>
          <p:cNvSpPr/>
          <p:nvPr/>
        </p:nvSpPr>
        <p:spPr>
          <a:xfrm>
            <a:off x="8295926" y="4279769"/>
            <a:ext cx="297436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People Leadership &amp; growth</a:t>
            </a:r>
          </a:p>
        </p:txBody>
      </p:sp>
      <p:sp>
        <p:nvSpPr>
          <p:cNvPr id="55" name="Rechthoek: afgeronde hoeken 54">
            <a:extLst>
              <a:ext uri="{FF2B5EF4-FFF2-40B4-BE49-F238E27FC236}">
                <a16:creationId xmlns:a16="http://schemas.microsoft.com/office/drawing/2014/main" id="{947A1E9C-1713-9C13-BBF2-D2A4F3CD52A2}"/>
              </a:ext>
            </a:extLst>
          </p:cNvPr>
          <p:cNvSpPr/>
          <p:nvPr/>
        </p:nvSpPr>
        <p:spPr>
          <a:xfrm>
            <a:off x="8305945" y="2288026"/>
            <a:ext cx="2964345" cy="326517"/>
          </a:xfrm>
          <a:prstGeom prst="roundRect">
            <a:avLst>
              <a:gd name="adj" fmla="val 0"/>
            </a:avLst>
          </a:prstGeom>
          <a:no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Leadership</a:t>
            </a:r>
          </a:p>
        </p:txBody>
      </p:sp>
      <p:sp>
        <p:nvSpPr>
          <p:cNvPr id="54" name="Rechthoek: afgeronde hoeken 53">
            <a:extLst>
              <a:ext uri="{FF2B5EF4-FFF2-40B4-BE49-F238E27FC236}">
                <a16:creationId xmlns:a16="http://schemas.microsoft.com/office/drawing/2014/main" id="{503B3BD8-8C01-DE1B-82C6-7CB1E8247579}"/>
              </a:ext>
            </a:extLst>
          </p:cNvPr>
          <p:cNvSpPr/>
          <p:nvPr/>
        </p:nvSpPr>
        <p:spPr>
          <a:xfrm>
            <a:off x="4663329" y="2288026"/>
            <a:ext cx="2964345" cy="326517"/>
          </a:xfrm>
          <a:prstGeom prst="roundRect">
            <a:avLst>
              <a:gd name="adj" fmla="val 0"/>
            </a:avLst>
          </a:prstGeom>
          <a:no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Professional services</a:t>
            </a:r>
          </a:p>
        </p:txBody>
      </p:sp>
      <p:sp>
        <p:nvSpPr>
          <p:cNvPr id="15" name="Rectangle: Rounded Corners 11">
            <a:extLst>
              <a:ext uri="{FF2B5EF4-FFF2-40B4-BE49-F238E27FC236}">
                <a16:creationId xmlns:a16="http://schemas.microsoft.com/office/drawing/2014/main" id="{80952D9D-72EF-13E5-F2F1-14524E0B6F59}"/>
              </a:ext>
            </a:extLst>
          </p:cNvPr>
          <p:cNvSpPr/>
          <p:nvPr/>
        </p:nvSpPr>
        <p:spPr>
          <a:xfrm>
            <a:off x="4640071" y="2710409"/>
            <a:ext cx="298760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Effective communication</a:t>
            </a:r>
          </a:p>
        </p:txBody>
      </p:sp>
      <p:sp>
        <p:nvSpPr>
          <p:cNvPr id="16" name="Rectangle: Rounded Corners 11">
            <a:extLst>
              <a:ext uri="{FF2B5EF4-FFF2-40B4-BE49-F238E27FC236}">
                <a16:creationId xmlns:a16="http://schemas.microsoft.com/office/drawing/2014/main" id="{9CE35905-046B-9072-AE81-B0B16961672C}"/>
              </a:ext>
            </a:extLst>
          </p:cNvPr>
          <p:cNvSpPr/>
          <p:nvPr/>
        </p:nvSpPr>
        <p:spPr>
          <a:xfrm>
            <a:off x="4640071" y="3487976"/>
            <a:ext cx="298760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Collaboration &amp; Delivery management</a:t>
            </a:r>
          </a:p>
        </p:txBody>
      </p:sp>
      <p:sp>
        <p:nvSpPr>
          <p:cNvPr id="25" name="Rectangle: Rounded Corners 11">
            <a:extLst>
              <a:ext uri="{FF2B5EF4-FFF2-40B4-BE49-F238E27FC236}">
                <a16:creationId xmlns:a16="http://schemas.microsoft.com/office/drawing/2014/main" id="{92E49C43-8901-D748-2170-F4A2C3EADAE1}"/>
              </a:ext>
            </a:extLst>
          </p:cNvPr>
          <p:cNvSpPr/>
          <p:nvPr/>
        </p:nvSpPr>
        <p:spPr>
          <a:xfrm>
            <a:off x="4640071" y="4265543"/>
            <a:ext cx="298760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Problem solving &amp; concepts</a:t>
            </a:r>
          </a:p>
        </p:txBody>
      </p:sp>
      <p:sp>
        <p:nvSpPr>
          <p:cNvPr id="26" name="TextBox 25">
            <a:extLst>
              <a:ext uri="{FF2B5EF4-FFF2-40B4-BE49-F238E27FC236}">
                <a16:creationId xmlns:a16="http://schemas.microsoft.com/office/drawing/2014/main" id="{E6C3086A-3120-0B98-C20F-092190F5D346}"/>
              </a:ext>
            </a:extLst>
          </p:cNvPr>
          <p:cNvSpPr txBox="1"/>
          <p:nvPr/>
        </p:nvSpPr>
        <p:spPr>
          <a:xfrm>
            <a:off x="713596" y="1686384"/>
            <a:ext cx="2961121" cy="498193"/>
          </a:xfrm>
          <a:prstGeom prst="rect">
            <a:avLst/>
          </a:prstGeom>
          <a:noFill/>
          <a:ln w="9525" cap="rnd" cmpd="sng" algn="ctr">
            <a:noFill/>
            <a:prstDash val="solid"/>
            <a:round/>
            <a:headEnd type="none" w="med" len="med"/>
            <a:tailEnd type="none" w="med" len="med"/>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defTabSz="914406">
              <a:buSzPct val="100000"/>
            </a:pPr>
            <a:r>
              <a:rPr lang="en-US" sz="1400" b="1" dirty="0">
                <a:solidFill>
                  <a:schemeClr val="accent1"/>
                </a:solidFill>
                <a:latin typeface="Arial" panose="020B0604020202020204" pitchFamily="34" charset="0"/>
                <a:cs typeface="Arial" panose="020B0604020202020204" pitchFamily="34" charset="0"/>
                <a:sym typeface="Arial" panose="020B0604020202020204" pitchFamily="34" charset="0"/>
              </a:rPr>
              <a:t>We are Data &amp; AI experts</a:t>
            </a:r>
          </a:p>
        </p:txBody>
      </p:sp>
      <p:sp>
        <p:nvSpPr>
          <p:cNvPr id="28" name="TextBox 27">
            <a:extLst>
              <a:ext uri="{FF2B5EF4-FFF2-40B4-BE49-F238E27FC236}">
                <a16:creationId xmlns:a16="http://schemas.microsoft.com/office/drawing/2014/main" id="{3614433B-CE83-D518-E0E1-2862197616E2}"/>
              </a:ext>
            </a:extLst>
          </p:cNvPr>
          <p:cNvSpPr txBox="1"/>
          <p:nvPr/>
        </p:nvSpPr>
        <p:spPr>
          <a:xfrm>
            <a:off x="704353" y="5834903"/>
            <a:ext cx="10565935" cy="292247"/>
          </a:xfrm>
          <a:prstGeom prst="rect">
            <a:avLst/>
          </a:prstGeom>
          <a:noFill/>
          <a:ln w="9525" cap="rnd" cmpd="sng" algn="ctr">
            <a:noFill/>
            <a:prstDash val="solid"/>
            <a:round/>
            <a:headEnd type="none" w="med" len="med"/>
            <a:tailEnd type="none" w="med" len="med"/>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311079" algn="ctr" defTabSz="914406">
              <a:buSzPct val="100000"/>
              <a:buFont typeface="Trebuchet MS" panose="020B0603020202020204" pitchFamily="34" charset="0"/>
              <a:buChar char="​"/>
            </a:pPr>
            <a:r>
              <a:rPr lang="en-US" sz="1400" b="1" dirty="0">
                <a:solidFill>
                  <a:schemeClr val="tx1"/>
                </a:solidFill>
                <a:latin typeface="Arial" panose="020B0604020202020204" pitchFamily="34" charset="0"/>
                <a:cs typeface="Arial" panose="020B0604020202020204" pitchFamily="34" charset="0"/>
                <a:sym typeface="Arial" panose="020B0604020202020204" pitchFamily="34" charset="0"/>
              </a:rPr>
              <a:t>We get things done</a:t>
            </a:r>
          </a:p>
        </p:txBody>
      </p:sp>
      <p:sp>
        <p:nvSpPr>
          <p:cNvPr id="11" name="Rectangle: Rounded Corners 11">
            <a:extLst>
              <a:ext uri="{FF2B5EF4-FFF2-40B4-BE49-F238E27FC236}">
                <a16:creationId xmlns:a16="http://schemas.microsoft.com/office/drawing/2014/main" id="{C1E4212D-3934-F324-4D35-AF2E38FF56B2}"/>
              </a:ext>
            </a:extLst>
          </p:cNvPr>
          <p:cNvSpPr/>
          <p:nvPr/>
        </p:nvSpPr>
        <p:spPr>
          <a:xfrm>
            <a:off x="713596" y="4270354"/>
            <a:ext cx="2961122"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Data AI translation</a:t>
            </a:r>
          </a:p>
        </p:txBody>
      </p:sp>
      <p:sp>
        <p:nvSpPr>
          <p:cNvPr id="24" name="Rechthoek: afgeronde hoeken 23">
            <a:extLst>
              <a:ext uri="{FF2B5EF4-FFF2-40B4-BE49-F238E27FC236}">
                <a16:creationId xmlns:a16="http://schemas.microsoft.com/office/drawing/2014/main" id="{26389FD2-7895-F0DD-F08E-E26676CA1A24}"/>
              </a:ext>
            </a:extLst>
          </p:cNvPr>
          <p:cNvSpPr/>
          <p:nvPr/>
        </p:nvSpPr>
        <p:spPr>
          <a:xfrm>
            <a:off x="687115" y="2288026"/>
            <a:ext cx="3004842" cy="326517"/>
          </a:xfrm>
          <a:prstGeom prst="roundRect">
            <a:avLst>
              <a:gd name="adj" fmla="val 0"/>
            </a:avLst>
          </a:prstGeom>
          <a:no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Data &amp; AI craft</a:t>
            </a:r>
          </a:p>
        </p:txBody>
      </p:sp>
      <p:sp>
        <p:nvSpPr>
          <p:cNvPr id="38" name="Rectangle: Rounded Corners 11">
            <a:extLst>
              <a:ext uri="{FF2B5EF4-FFF2-40B4-BE49-F238E27FC236}">
                <a16:creationId xmlns:a16="http://schemas.microsoft.com/office/drawing/2014/main" id="{C705EEF9-CC6D-DBE5-7DAC-4BB9E9E679E9}"/>
              </a:ext>
            </a:extLst>
          </p:cNvPr>
          <p:cNvSpPr/>
          <p:nvPr/>
        </p:nvSpPr>
        <p:spPr>
          <a:xfrm>
            <a:off x="704353" y="2724844"/>
            <a:ext cx="298760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Data Science</a:t>
            </a:r>
          </a:p>
        </p:txBody>
      </p:sp>
      <p:sp>
        <p:nvSpPr>
          <p:cNvPr id="4" name="Rectangle: Rounded Corners 11">
            <a:extLst>
              <a:ext uri="{FF2B5EF4-FFF2-40B4-BE49-F238E27FC236}">
                <a16:creationId xmlns:a16="http://schemas.microsoft.com/office/drawing/2014/main" id="{C96AB82E-8A18-F65C-7347-6A79E324E9E6}"/>
              </a:ext>
            </a:extLst>
          </p:cNvPr>
          <p:cNvSpPr/>
          <p:nvPr/>
        </p:nvSpPr>
        <p:spPr>
          <a:xfrm>
            <a:off x="704353" y="3497599"/>
            <a:ext cx="298760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Engineering</a:t>
            </a:r>
          </a:p>
        </p:txBody>
      </p:sp>
      <p:sp>
        <p:nvSpPr>
          <p:cNvPr id="40" name="Rectangle: Rounded Corners 11">
            <a:extLst>
              <a:ext uri="{FF2B5EF4-FFF2-40B4-BE49-F238E27FC236}">
                <a16:creationId xmlns:a16="http://schemas.microsoft.com/office/drawing/2014/main" id="{2E9AC49E-1597-9806-4C19-E3E404936D88}"/>
              </a:ext>
            </a:extLst>
          </p:cNvPr>
          <p:cNvSpPr/>
          <p:nvPr/>
        </p:nvSpPr>
        <p:spPr>
          <a:xfrm>
            <a:off x="8295926" y="5064448"/>
            <a:ext cx="297436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i="1" dirty="0">
                <a:latin typeface="Arial" panose="020B0604020202020204" pitchFamily="34" charset="0"/>
                <a:cs typeface="Arial" panose="020B0604020202020204" pitchFamily="34" charset="0"/>
                <a:sym typeface="Arial" panose="020B0604020202020204" pitchFamily="34" charset="0"/>
              </a:rPr>
              <a:t>Rewire Leadership</a:t>
            </a:r>
          </a:p>
        </p:txBody>
      </p:sp>
      <p:sp>
        <p:nvSpPr>
          <p:cNvPr id="42" name="Rectangle: Rounded Corners 11">
            <a:extLst>
              <a:ext uri="{FF2B5EF4-FFF2-40B4-BE49-F238E27FC236}">
                <a16:creationId xmlns:a16="http://schemas.microsoft.com/office/drawing/2014/main" id="{12C0148B-CE38-1BEB-6B2D-A0C4FC4AF024}"/>
              </a:ext>
            </a:extLst>
          </p:cNvPr>
          <p:cNvSpPr/>
          <p:nvPr/>
        </p:nvSpPr>
        <p:spPr>
          <a:xfrm>
            <a:off x="4663329" y="5043110"/>
            <a:ext cx="298760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a:latin typeface="Arial" panose="020B0604020202020204" pitchFamily="34" charset="0"/>
                <a:cs typeface="Arial" panose="020B0604020202020204" pitchFamily="34" charset="0"/>
                <a:sym typeface="Arial" panose="020B0604020202020204" pitchFamily="34" charset="0"/>
              </a:rPr>
              <a:t>Quality, Risk &amp; Compliance</a:t>
            </a:r>
          </a:p>
        </p:txBody>
      </p:sp>
      <p:sp>
        <p:nvSpPr>
          <p:cNvPr id="43" name="Rectangle: Rounded Corners 11">
            <a:extLst>
              <a:ext uri="{FF2B5EF4-FFF2-40B4-BE49-F238E27FC236}">
                <a16:creationId xmlns:a16="http://schemas.microsoft.com/office/drawing/2014/main" id="{EEE1BBE3-EA3B-9647-3E7F-27819AE19C96}"/>
              </a:ext>
            </a:extLst>
          </p:cNvPr>
          <p:cNvSpPr/>
          <p:nvPr/>
        </p:nvSpPr>
        <p:spPr>
          <a:xfrm>
            <a:off x="687114" y="5043110"/>
            <a:ext cx="2987604" cy="625884"/>
          </a:xfrm>
          <a:prstGeom prst="roundRect">
            <a:avLst>
              <a:gd name="adj" fmla="val 0"/>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00" b="1" dirty="0" err="1">
                <a:latin typeface="Arial" panose="020B0604020202020204" pitchFamily="34" charset="0"/>
                <a:cs typeface="Arial" panose="020B0604020202020204" pitchFamily="34" charset="0"/>
                <a:sym typeface="Arial" panose="020B0604020202020204" pitchFamily="34" charset="0"/>
              </a:rPr>
              <a:t>DAIdactics</a:t>
            </a:r>
            <a:endParaRPr lang="en-US" sz="1400" b="1" dirty="0">
              <a:latin typeface="Arial" panose="020B0604020202020204" pitchFamily="34" charset="0"/>
              <a:cs typeface="Arial" panose="020B0604020202020204" pitchFamily="34" charset="0"/>
              <a:sym typeface="Arial" panose="020B0604020202020204" pitchFamily="34" charset="0"/>
            </a:endParaRPr>
          </a:p>
        </p:txBody>
      </p:sp>
      <p:sp>
        <p:nvSpPr>
          <p:cNvPr id="44" name="TextBox 25">
            <a:extLst>
              <a:ext uri="{FF2B5EF4-FFF2-40B4-BE49-F238E27FC236}">
                <a16:creationId xmlns:a16="http://schemas.microsoft.com/office/drawing/2014/main" id="{5BEC0DFB-59C3-9C54-982B-89C5FD483FAE}"/>
              </a:ext>
            </a:extLst>
          </p:cNvPr>
          <p:cNvSpPr txBox="1"/>
          <p:nvPr/>
        </p:nvSpPr>
        <p:spPr>
          <a:xfrm>
            <a:off x="4640071" y="1686384"/>
            <a:ext cx="3078990" cy="498193"/>
          </a:xfrm>
          <a:prstGeom prst="rect">
            <a:avLst/>
          </a:prstGeom>
          <a:noFill/>
          <a:ln w="9525" cap="rnd" cmpd="sng" algn="ctr">
            <a:noFill/>
            <a:prstDash val="solid"/>
            <a:round/>
            <a:headEnd type="none" w="med" len="med"/>
            <a:tailEnd type="none" w="med" len="med"/>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defTabSz="914406">
              <a:buSzPct val="100000"/>
            </a:pPr>
            <a:r>
              <a:rPr lang="en-US" sz="1400" b="1" dirty="0">
                <a:solidFill>
                  <a:schemeClr val="accent3"/>
                </a:solidFill>
                <a:latin typeface="Arial" panose="020B0604020202020204" pitchFamily="34" charset="0"/>
                <a:cs typeface="Arial" panose="020B0604020202020204" pitchFamily="34" charset="0"/>
                <a:sym typeface="Arial" panose="020B0604020202020204" pitchFamily="34" charset="0"/>
              </a:rPr>
              <a:t>We serve large organizations</a:t>
            </a:r>
          </a:p>
        </p:txBody>
      </p:sp>
      <p:sp>
        <p:nvSpPr>
          <p:cNvPr id="45" name="TextBox 25">
            <a:extLst>
              <a:ext uri="{FF2B5EF4-FFF2-40B4-BE49-F238E27FC236}">
                <a16:creationId xmlns:a16="http://schemas.microsoft.com/office/drawing/2014/main" id="{11ADA115-5476-94E2-89DB-915EF49020F4}"/>
              </a:ext>
            </a:extLst>
          </p:cNvPr>
          <p:cNvSpPr txBox="1"/>
          <p:nvPr/>
        </p:nvSpPr>
        <p:spPr>
          <a:xfrm>
            <a:off x="8305944" y="1686384"/>
            <a:ext cx="2964345" cy="498193"/>
          </a:xfrm>
          <a:prstGeom prst="rect">
            <a:avLst/>
          </a:prstGeom>
          <a:noFill/>
          <a:ln w="9525" cap="rnd" cmpd="sng" algn="ctr">
            <a:noFill/>
            <a:prstDash val="solid"/>
            <a:round/>
            <a:headEnd type="none" w="med" len="med"/>
            <a:tailEnd type="none" w="med" len="med"/>
          </a:ln>
          <a:effectLst>
            <a:outerShdw blurRad="63500" sx="102000" sy="1020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algn="ctr" defTabSz="914406">
              <a:buSzPct val="100000"/>
            </a:pPr>
            <a:r>
              <a:rPr lang="en-US" sz="1400" b="1" dirty="0">
                <a:solidFill>
                  <a:schemeClr val="accent4"/>
                </a:solidFill>
                <a:latin typeface="Arial" panose="020B0604020202020204" pitchFamily="34" charset="0"/>
                <a:cs typeface="Arial" panose="020B0604020202020204" pitchFamily="34" charset="0"/>
                <a:sym typeface="Arial" panose="020B0604020202020204" pitchFamily="34" charset="0"/>
              </a:rPr>
              <a:t>We make impact and bring growth</a:t>
            </a:r>
          </a:p>
        </p:txBody>
      </p:sp>
      <p:cxnSp>
        <p:nvCxnSpPr>
          <p:cNvPr id="6" name="Straight Connector 5">
            <a:extLst>
              <a:ext uri="{FF2B5EF4-FFF2-40B4-BE49-F238E27FC236}">
                <a16:creationId xmlns:a16="http://schemas.microsoft.com/office/drawing/2014/main" id="{0B3101DB-BC57-0CB2-FA9F-FF9BB6186164}"/>
              </a:ext>
            </a:extLst>
          </p:cNvPr>
          <p:cNvCxnSpPr/>
          <p:nvPr/>
        </p:nvCxnSpPr>
        <p:spPr>
          <a:xfrm>
            <a:off x="687114" y="5800633"/>
            <a:ext cx="1058317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1B03648-AC2A-5B84-67BA-1F2BB48E0B14}"/>
              </a:ext>
            </a:extLst>
          </p:cNvPr>
          <p:cNvCxnSpPr/>
          <p:nvPr/>
        </p:nvCxnSpPr>
        <p:spPr>
          <a:xfrm>
            <a:off x="4351373" y="2649449"/>
            <a:ext cx="298760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78A552B-E66A-A892-4651-C730D6B7BB36}"/>
              </a:ext>
            </a:extLst>
          </p:cNvPr>
          <p:cNvCxnSpPr/>
          <p:nvPr/>
        </p:nvCxnSpPr>
        <p:spPr>
          <a:xfrm>
            <a:off x="986406" y="2649449"/>
            <a:ext cx="298760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50A238F-4FD0-372D-8D22-8F637C8E169F}"/>
              </a:ext>
            </a:extLst>
          </p:cNvPr>
          <p:cNvCxnSpPr/>
          <p:nvPr/>
        </p:nvCxnSpPr>
        <p:spPr>
          <a:xfrm>
            <a:off x="8305944" y="2649449"/>
            <a:ext cx="298760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1355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7068B6C3-41E8-A119-A048-26E784857067}"/>
              </a:ext>
            </a:extLst>
          </p:cNvPr>
          <p:cNvGraphicFramePr>
            <a:graphicFrameLocks noChangeAspect="1"/>
          </p:cNvGraphicFramePr>
          <p:nvPr>
            <p:custDataLst>
              <p:tags r:id="rId1"/>
            </p:custDataLst>
            <p:extLst>
              <p:ext uri="{D42A27DB-BD31-4B8C-83A1-F6EECF244321}">
                <p14:modId xmlns:p14="http://schemas.microsoft.com/office/powerpoint/2010/main" val="1925601623"/>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8" name="think-cell data - do not delete" hidden="1">
                        <a:extLst>
                          <a:ext uri="{FF2B5EF4-FFF2-40B4-BE49-F238E27FC236}">
                            <a16:creationId xmlns:a16="http://schemas.microsoft.com/office/drawing/2014/main" id="{7068B6C3-41E8-A119-A048-26E784857067}"/>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0E7176B1-9FE2-BF7E-E3EA-E93EC96BFCCF}"/>
              </a:ext>
            </a:extLst>
          </p:cNvPr>
          <p:cNvSpPr>
            <a:spLocks noGrp="1"/>
          </p:cNvSpPr>
          <p:nvPr>
            <p:ph type="body" sz="quarter" idx="18"/>
          </p:nvPr>
        </p:nvSpPr>
        <p:spPr/>
        <p:txBody>
          <a:bodyPr/>
          <a:lstStyle/>
          <a:p>
            <a:endParaRPr lang="en-US"/>
          </a:p>
        </p:txBody>
      </p:sp>
      <p:sp>
        <p:nvSpPr>
          <p:cNvPr id="23" name="Text Placeholder 22">
            <a:extLst>
              <a:ext uri="{FF2B5EF4-FFF2-40B4-BE49-F238E27FC236}">
                <a16:creationId xmlns:a16="http://schemas.microsoft.com/office/drawing/2014/main" id="{15923E2E-68E4-648A-9755-FF6A23BCCEA4}"/>
              </a:ext>
            </a:extLst>
          </p:cNvPr>
          <p:cNvSpPr>
            <a:spLocks noGrp="1"/>
          </p:cNvSpPr>
          <p:nvPr>
            <p:ph type="body" sz="quarter" idx="19"/>
          </p:nvPr>
        </p:nvSpPr>
        <p:spPr/>
        <p:txBody>
          <a:bodyPr/>
          <a:lstStyle/>
          <a:p>
            <a:endParaRPr lang="en-US"/>
          </a:p>
        </p:txBody>
      </p:sp>
      <p:sp>
        <p:nvSpPr>
          <p:cNvPr id="21" name="Title 20">
            <a:extLst>
              <a:ext uri="{FF2B5EF4-FFF2-40B4-BE49-F238E27FC236}">
                <a16:creationId xmlns:a16="http://schemas.microsoft.com/office/drawing/2014/main" id="{1A0BB9AE-AD5D-B8E2-6135-CCDFDB5AD5F4}"/>
              </a:ext>
            </a:extLst>
          </p:cNvPr>
          <p:cNvSpPr>
            <a:spLocks noGrp="1"/>
          </p:cNvSpPr>
          <p:nvPr>
            <p:ph type="title"/>
          </p:nvPr>
        </p:nvSpPr>
        <p:spPr/>
        <p:txBody>
          <a:bodyPr vert="horz" anchor="ctr"/>
          <a:lstStyle/>
          <a:p>
            <a:r>
              <a:rPr lang="en-GB" b="1" dirty="0">
                <a:latin typeface="Arial" panose="020B0604020202020204" pitchFamily="34" charset="0"/>
                <a:cs typeface="Arial" panose="020B0604020202020204" pitchFamily="34" charset="0"/>
                <a:sym typeface="Arial" panose="020B0604020202020204" pitchFamily="34" charset="0"/>
              </a:rPr>
              <a:t>Competencies and capabilities are defined around three pillars of Rewire’s growth</a:t>
            </a:r>
            <a:br>
              <a:rPr lang="en-GB" b="1" dirty="0">
                <a:latin typeface="Arial" panose="020B0604020202020204" pitchFamily="34" charset="0"/>
                <a:cs typeface="Arial" panose="020B0604020202020204" pitchFamily="34" charset="0"/>
                <a:sym typeface="Arial" panose="020B0604020202020204" pitchFamily="34" charset="0"/>
              </a:rPr>
            </a:br>
            <a:endParaRPr lang="en-US" dirty="0"/>
          </a:p>
        </p:txBody>
      </p:sp>
      <p:sp>
        <p:nvSpPr>
          <p:cNvPr id="24" name="Text Placeholder 23">
            <a:extLst>
              <a:ext uri="{FF2B5EF4-FFF2-40B4-BE49-F238E27FC236}">
                <a16:creationId xmlns:a16="http://schemas.microsoft.com/office/drawing/2014/main" id="{C40A80C3-4ADC-B9B6-84C8-F77ED06BCCB4}"/>
              </a:ext>
            </a:extLst>
          </p:cNvPr>
          <p:cNvSpPr>
            <a:spLocks noGrp="1"/>
          </p:cNvSpPr>
          <p:nvPr>
            <p:ph type="body" sz="quarter" idx="21"/>
          </p:nvPr>
        </p:nvSpPr>
        <p:spPr/>
        <p:txBody>
          <a:bodyPr/>
          <a:lstStyle/>
          <a:p>
            <a:endParaRPr lang="en-US" dirty="0"/>
          </a:p>
        </p:txBody>
      </p:sp>
      <p:grpSp>
        <p:nvGrpSpPr>
          <p:cNvPr id="13" name="Groep 12">
            <a:extLst>
              <a:ext uri="{FF2B5EF4-FFF2-40B4-BE49-F238E27FC236}">
                <a16:creationId xmlns:a16="http://schemas.microsoft.com/office/drawing/2014/main" id="{19006C2B-2F2A-99EE-BB90-D3B0FACE0733}"/>
              </a:ext>
            </a:extLst>
          </p:cNvPr>
          <p:cNvGrpSpPr/>
          <p:nvPr/>
        </p:nvGrpSpPr>
        <p:grpSpPr>
          <a:xfrm>
            <a:off x="3561943" y="1189096"/>
            <a:ext cx="5688487" cy="5349912"/>
            <a:chOff x="1087967" y="2615445"/>
            <a:chExt cx="3003196" cy="2824448"/>
          </a:xfrm>
        </p:grpSpPr>
        <p:grpSp>
          <p:nvGrpSpPr>
            <p:cNvPr id="12" name="Groep 11">
              <a:extLst>
                <a:ext uri="{FF2B5EF4-FFF2-40B4-BE49-F238E27FC236}">
                  <a16:creationId xmlns:a16="http://schemas.microsoft.com/office/drawing/2014/main" id="{7DB10E3A-F77A-8D6C-4991-0880F410A926}"/>
                </a:ext>
              </a:extLst>
            </p:cNvPr>
            <p:cNvGrpSpPr/>
            <p:nvPr/>
          </p:nvGrpSpPr>
          <p:grpSpPr>
            <a:xfrm>
              <a:off x="1087967" y="2615445"/>
              <a:ext cx="3003196" cy="2201333"/>
              <a:chOff x="1087967" y="2615445"/>
              <a:chExt cx="3003196" cy="2201333"/>
            </a:xfrm>
          </p:grpSpPr>
          <p:sp>
            <p:nvSpPr>
              <p:cNvPr id="9" name="Vrije vorm: vorm 8">
                <a:extLst>
                  <a:ext uri="{FF2B5EF4-FFF2-40B4-BE49-F238E27FC236}">
                    <a16:creationId xmlns:a16="http://schemas.microsoft.com/office/drawing/2014/main" id="{99AD34D2-C3B9-13DB-DBA9-417154915C43}"/>
                  </a:ext>
                </a:extLst>
              </p:cNvPr>
              <p:cNvSpPr/>
              <p:nvPr/>
            </p:nvSpPr>
            <p:spPr>
              <a:xfrm>
                <a:off x="1087967" y="2615445"/>
                <a:ext cx="1265767" cy="2201333"/>
              </a:xfrm>
              <a:custGeom>
                <a:avLst/>
                <a:gdLst>
                  <a:gd name="connsiteX0" fmla="*/ 0 w 1265767"/>
                  <a:gd name="connsiteY0" fmla="*/ 2201333 h 2201333"/>
                  <a:gd name="connsiteX1" fmla="*/ 1265767 w 1265767"/>
                  <a:gd name="connsiteY1" fmla="*/ 1452033 h 2201333"/>
                  <a:gd name="connsiteX2" fmla="*/ 1253067 w 1265767"/>
                  <a:gd name="connsiteY2" fmla="*/ 0 h 2201333"/>
                  <a:gd name="connsiteX3" fmla="*/ 0 w 1265767"/>
                  <a:gd name="connsiteY3" fmla="*/ 2201333 h 2201333"/>
                </a:gdLst>
                <a:ahLst/>
                <a:cxnLst>
                  <a:cxn ang="0">
                    <a:pos x="connsiteX0" y="connsiteY0"/>
                  </a:cxn>
                  <a:cxn ang="0">
                    <a:pos x="connsiteX1" y="connsiteY1"/>
                  </a:cxn>
                  <a:cxn ang="0">
                    <a:pos x="connsiteX2" y="connsiteY2"/>
                  </a:cxn>
                  <a:cxn ang="0">
                    <a:pos x="connsiteX3" y="connsiteY3"/>
                  </a:cxn>
                </a:cxnLst>
                <a:rect l="l" t="t" r="r" b="b"/>
                <a:pathLst>
                  <a:path w="1265767" h="2201333">
                    <a:moveTo>
                      <a:pt x="0" y="2201333"/>
                    </a:moveTo>
                    <a:lnTo>
                      <a:pt x="1265767" y="1452033"/>
                    </a:lnTo>
                    <a:lnTo>
                      <a:pt x="1253067" y="0"/>
                    </a:lnTo>
                    <a:lnTo>
                      <a:pt x="0" y="2201333"/>
                    </a:lnTo>
                    <a:close/>
                  </a:path>
                </a:pathLst>
              </a:custGeom>
              <a:solidFill>
                <a:schemeClr val="accent1">
                  <a:lumMod val="20000"/>
                  <a:lumOff val="80000"/>
                </a:schemeClr>
              </a:solidFill>
            </p:spPr>
            <p:txBody>
              <a:bodyPr rot="0" spcFirstLastPara="0" vertOverflow="overflow" horzOverflow="overflow" vert="horz" wrap="square" lIns="65317" tIns="65317" rIns="65317" bIns="65317" numCol="1" spcCol="0" rtlCol="0" fromWordArt="0" anchor="t" anchorCtr="0" forceAA="0" compatLnSpc="1">
                <a:prstTxWarp prst="textNoShape">
                  <a:avLst/>
                </a:prstTxWarp>
                <a:noAutofit/>
              </a:bodyPr>
              <a:lstStyle/>
              <a:p>
                <a:pPr algn="l"/>
                <a:endParaRPr lang="en-US" sz="1089" dirty="0" err="1">
                  <a:latin typeface="Arial" panose="020B0604020202020204" pitchFamily="34" charset="0"/>
                  <a:cs typeface="Arial" panose="020B0604020202020204" pitchFamily="34" charset="0"/>
                  <a:sym typeface="Arial" panose="020B0604020202020204" pitchFamily="34" charset="0"/>
                </a:endParaRPr>
              </a:p>
            </p:txBody>
          </p:sp>
          <p:sp>
            <p:nvSpPr>
              <p:cNvPr id="10" name="Vrije vorm: vorm 9">
                <a:extLst>
                  <a:ext uri="{FF2B5EF4-FFF2-40B4-BE49-F238E27FC236}">
                    <a16:creationId xmlns:a16="http://schemas.microsoft.com/office/drawing/2014/main" id="{855065A3-C53F-C9A3-3420-08E2F2B7C83D}"/>
                  </a:ext>
                </a:extLst>
              </p:cNvPr>
              <p:cNvSpPr/>
              <p:nvPr/>
            </p:nvSpPr>
            <p:spPr>
              <a:xfrm rot="7200000">
                <a:off x="2357613" y="2605077"/>
                <a:ext cx="1265767" cy="2201333"/>
              </a:xfrm>
              <a:custGeom>
                <a:avLst/>
                <a:gdLst>
                  <a:gd name="connsiteX0" fmla="*/ 0 w 1265767"/>
                  <a:gd name="connsiteY0" fmla="*/ 2201333 h 2201333"/>
                  <a:gd name="connsiteX1" fmla="*/ 1265767 w 1265767"/>
                  <a:gd name="connsiteY1" fmla="*/ 1452033 h 2201333"/>
                  <a:gd name="connsiteX2" fmla="*/ 1253067 w 1265767"/>
                  <a:gd name="connsiteY2" fmla="*/ 0 h 2201333"/>
                  <a:gd name="connsiteX3" fmla="*/ 0 w 1265767"/>
                  <a:gd name="connsiteY3" fmla="*/ 2201333 h 2201333"/>
                </a:gdLst>
                <a:ahLst/>
                <a:cxnLst>
                  <a:cxn ang="0">
                    <a:pos x="connsiteX0" y="connsiteY0"/>
                  </a:cxn>
                  <a:cxn ang="0">
                    <a:pos x="connsiteX1" y="connsiteY1"/>
                  </a:cxn>
                  <a:cxn ang="0">
                    <a:pos x="connsiteX2" y="connsiteY2"/>
                  </a:cxn>
                  <a:cxn ang="0">
                    <a:pos x="connsiteX3" y="connsiteY3"/>
                  </a:cxn>
                </a:cxnLst>
                <a:rect l="l" t="t" r="r" b="b"/>
                <a:pathLst>
                  <a:path w="1265767" h="2201333">
                    <a:moveTo>
                      <a:pt x="0" y="2201333"/>
                    </a:moveTo>
                    <a:lnTo>
                      <a:pt x="1265767" y="1452033"/>
                    </a:lnTo>
                    <a:lnTo>
                      <a:pt x="1253067" y="0"/>
                    </a:lnTo>
                    <a:lnTo>
                      <a:pt x="0" y="2201333"/>
                    </a:lnTo>
                    <a:close/>
                  </a:path>
                </a:pathLst>
              </a:custGeom>
              <a:solidFill>
                <a:schemeClr val="accent3">
                  <a:lumMod val="20000"/>
                  <a:lumOff val="80000"/>
                </a:schemeClr>
              </a:solidFill>
            </p:spPr>
            <p:txBody>
              <a:bodyPr rot="0" spcFirstLastPara="0" vertOverflow="overflow" horzOverflow="overflow" vert="horz" wrap="square" lIns="65317" tIns="65317" rIns="65317" bIns="65317" numCol="1" spcCol="0" rtlCol="0" fromWordArt="0" anchor="t" anchorCtr="0" forceAA="0" compatLnSpc="1">
                <a:prstTxWarp prst="textNoShape">
                  <a:avLst/>
                </a:prstTxWarp>
                <a:noAutofit/>
              </a:bodyPr>
              <a:lstStyle/>
              <a:p>
                <a:pPr algn="l"/>
                <a:endParaRPr lang="en-US" sz="1089" dirty="0">
                  <a:latin typeface="Arial" panose="020B0604020202020204" pitchFamily="34" charset="0"/>
                  <a:cs typeface="Arial" panose="020B0604020202020204" pitchFamily="34" charset="0"/>
                  <a:sym typeface="Arial" panose="020B0604020202020204" pitchFamily="34" charset="0"/>
                </a:endParaRPr>
              </a:p>
            </p:txBody>
          </p:sp>
        </p:grpSp>
        <p:sp>
          <p:nvSpPr>
            <p:cNvPr id="11" name="Vrije vorm: vorm 10">
              <a:extLst>
                <a:ext uri="{FF2B5EF4-FFF2-40B4-BE49-F238E27FC236}">
                  <a16:creationId xmlns:a16="http://schemas.microsoft.com/office/drawing/2014/main" id="{0BDEE13C-0062-2A8A-D2F2-AEE2408FC8CA}"/>
                </a:ext>
              </a:extLst>
            </p:cNvPr>
            <p:cNvSpPr/>
            <p:nvPr/>
          </p:nvSpPr>
          <p:spPr>
            <a:xfrm rot="14400000">
              <a:off x="1720850" y="3706343"/>
              <a:ext cx="1265767" cy="2201333"/>
            </a:xfrm>
            <a:custGeom>
              <a:avLst/>
              <a:gdLst>
                <a:gd name="connsiteX0" fmla="*/ 0 w 1265767"/>
                <a:gd name="connsiteY0" fmla="*/ 2201333 h 2201333"/>
                <a:gd name="connsiteX1" fmla="*/ 1265767 w 1265767"/>
                <a:gd name="connsiteY1" fmla="*/ 1452033 h 2201333"/>
                <a:gd name="connsiteX2" fmla="*/ 1253067 w 1265767"/>
                <a:gd name="connsiteY2" fmla="*/ 0 h 2201333"/>
                <a:gd name="connsiteX3" fmla="*/ 0 w 1265767"/>
                <a:gd name="connsiteY3" fmla="*/ 2201333 h 2201333"/>
              </a:gdLst>
              <a:ahLst/>
              <a:cxnLst>
                <a:cxn ang="0">
                  <a:pos x="connsiteX0" y="connsiteY0"/>
                </a:cxn>
                <a:cxn ang="0">
                  <a:pos x="connsiteX1" y="connsiteY1"/>
                </a:cxn>
                <a:cxn ang="0">
                  <a:pos x="connsiteX2" y="connsiteY2"/>
                </a:cxn>
                <a:cxn ang="0">
                  <a:pos x="connsiteX3" y="connsiteY3"/>
                </a:cxn>
              </a:cxnLst>
              <a:rect l="l" t="t" r="r" b="b"/>
              <a:pathLst>
                <a:path w="1265767" h="2201333">
                  <a:moveTo>
                    <a:pt x="0" y="2201333"/>
                  </a:moveTo>
                  <a:lnTo>
                    <a:pt x="1265767" y="1452033"/>
                  </a:lnTo>
                  <a:lnTo>
                    <a:pt x="1253067" y="0"/>
                  </a:lnTo>
                  <a:lnTo>
                    <a:pt x="0" y="2201333"/>
                  </a:lnTo>
                  <a:close/>
                </a:path>
              </a:pathLst>
            </a:custGeom>
            <a:solidFill>
              <a:schemeClr val="accent4">
                <a:lumMod val="20000"/>
                <a:lumOff val="80000"/>
              </a:schemeClr>
            </a:solidFill>
          </p:spPr>
          <p:txBody>
            <a:bodyPr rot="0" spcFirstLastPara="0" vertOverflow="overflow" horzOverflow="overflow" vert="horz" wrap="square" lIns="65317" tIns="65317" rIns="65317" bIns="65317" numCol="1" spcCol="0" rtlCol="0" fromWordArt="0" anchor="t" anchorCtr="0" forceAA="0" compatLnSpc="1">
              <a:prstTxWarp prst="textNoShape">
                <a:avLst/>
              </a:prstTxWarp>
              <a:noAutofit/>
            </a:bodyPr>
            <a:lstStyle/>
            <a:p>
              <a:pPr algn="l"/>
              <a:endParaRPr lang="en-US" sz="1089"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4" name="Groep 13">
            <a:extLst>
              <a:ext uri="{FF2B5EF4-FFF2-40B4-BE49-F238E27FC236}">
                <a16:creationId xmlns:a16="http://schemas.microsoft.com/office/drawing/2014/main" id="{0F8BF55F-0312-1A43-0DA8-018510F0B048}"/>
              </a:ext>
            </a:extLst>
          </p:cNvPr>
          <p:cNvGrpSpPr/>
          <p:nvPr/>
        </p:nvGrpSpPr>
        <p:grpSpPr>
          <a:xfrm>
            <a:off x="8281628" y="1250281"/>
            <a:ext cx="2974364" cy="3176950"/>
            <a:chOff x="5607988" y="2144046"/>
            <a:chExt cx="2288676" cy="3501999"/>
          </a:xfrm>
        </p:grpSpPr>
        <p:sp>
          <p:nvSpPr>
            <p:cNvPr id="15" name="Rectangle: Rounded Corners 11">
              <a:extLst>
                <a:ext uri="{FF2B5EF4-FFF2-40B4-BE49-F238E27FC236}">
                  <a16:creationId xmlns:a16="http://schemas.microsoft.com/office/drawing/2014/main" id="{4017DAFA-D2C7-AD8B-835A-EACBA45531B8}"/>
                </a:ext>
              </a:extLst>
            </p:cNvPr>
            <p:cNvSpPr/>
            <p:nvPr/>
          </p:nvSpPr>
          <p:spPr>
            <a:xfrm>
              <a:off x="5607988" y="2645139"/>
              <a:ext cx="2288676" cy="689921"/>
            </a:xfrm>
            <a:prstGeom prst="roundRect">
              <a:avLst>
                <a:gd name="adj" fmla="val 0"/>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Client leadership</a:t>
              </a:r>
            </a:p>
          </p:txBody>
        </p:sp>
        <p:sp>
          <p:nvSpPr>
            <p:cNvPr id="16" name="Rectangle: Rounded Corners 11">
              <a:extLst>
                <a:ext uri="{FF2B5EF4-FFF2-40B4-BE49-F238E27FC236}">
                  <a16:creationId xmlns:a16="http://schemas.microsoft.com/office/drawing/2014/main" id="{F85A998A-6B3D-F8D0-2A0E-B049A7F0182F}"/>
                </a:ext>
              </a:extLst>
            </p:cNvPr>
            <p:cNvSpPr/>
            <p:nvPr/>
          </p:nvSpPr>
          <p:spPr>
            <a:xfrm>
              <a:off x="5607988" y="3412399"/>
              <a:ext cx="2288676" cy="689921"/>
            </a:xfrm>
            <a:prstGeom prst="roundRect">
              <a:avLst>
                <a:gd name="adj" fmla="val 3449"/>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Personal Leadership</a:t>
              </a:r>
            </a:p>
          </p:txBody>
        </p:sp>
        <p:sp>
          <p:nvSpPr>
            <p:cNvPr id="17" name="Rectangle: Rounded Corners 11">
              <a:extLst>
                <a:ext uri="{FF2B5EF4-FFF2-40B4-BE49-F238E27FC236}">
                  <a16:creationId xmlns:a16="http://schemas.microsoft.com/office/drawing/2014/main" id="{0610867A-3662-7AC4-1959-8A07A6AA2A98}"/>
                </a:ext>
              </a:extLst>
            </p:cNvPr>
            <p:cNvSpPr/>
            <p:nvPr/>
          </p:nvSpPr>
          <p:spPr>
            <a:xfrm>
              <a:off x="5607988" y="4179659"/>
              <a:ext cx="2288676" cy="689921"/>
            </a:xfrm>
            <a:prstGeom prst="roundRect">
              <a:avLst>
                <a:gd name="adj" fmla="val 0"/>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People Leadership &amp; growth</a:t>
              </a:r>
            </a:p>
          </p:txBody>
        </p:sp>
        <p:sp>
          <p:nvSpPr>
            <p:cNvPr id="18" name="Rechthoek: afgeronde hoeken 17">
              <a:extLst>
                <a:ext uri="{FF2B5EF4-FFF2-40B4-BE49-F238E27FC236}">
                  <a16:creationId xmlns:a16="http://schemas.microsoft.com/office/drawing/2014/main" id="{C124F963-59B2-4209-DC98-490F75DEB25F}"/>
                </a:ext>
              </a:extLst>
            </p:cNvPr>
            <p:cNvSpPr/>
            <p:nvPr/>
          </p:nvSpPr>
          <p:spPr>
            <a:xfrm>
              <a:off x="5758813" y="2144046"/>
              <a:ext cx="1987027" cy="359924"/>
            </a:xfrm>
            <a:prstGeom prst="roundRect">
              <a:avLst>
                <a:gd name="adj" fmla="val 0"/>
              </a:avLst>
            </a:prstGeom>
            <a:no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270" b="1" dirty="0">
                  <a:latin typeface="Arial" panose="020B0604020202020204" pitchFamily="34" charset="0"/>
                  <a:cs typeface="Arial" panose="020B0604020202020204" pitchFamily="34" charset="0"/>
                  <a:sym typeface="Arial" panose="020B0604020202020204" pitchFamily="34" charset="0"/>
                </a:rPr>
                <a:t>LEADERSHIP COMPETENCIES</a:t>
              </a:r>
            </a:p>
          </p:txBody>
        </p:sp>
        <p:sp>
          <p:nvSpPr>
            <p:cNvPr id="7" name="Rectangle: Rounded Corners 11">
              <a:extLst>
                <a:ext uri="{FF2B5EF4-FFF2-40B4-BE49-F238E27FC236}">
                  <a16:creationId xmlns:a16="http://schemas.microsoft.com/office/drawing/2014/main" id="{4F759501-A0ED-BB1E-2CF7-0FA4436D9927}"/>
                </a:ext>
              </a:extLst>
            </p:cNvPr>
            <p:cNvSpPr/>
            <p:nvPr/>
          </p:nvSpPr>
          <p:spPr>
            <a:xfrm>
              <a:off x="5607988" y="4956124"/>
              <a:ext cx="2288676" cy="689921"/>
            </a:xfrm>
            <a:prstGeom prst="roundRect">
              <a:avLst>
                <a:gd name="adj" fmla="val 3449"/>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Rewire Leadership</a:t>
              </a:r>
            </a:p>
          </p:txBody>
        </p:sp>
      </p:grpSp>
      <p:sp>
        <p:nvSpPr>
          <p:cNvPr id="19" name="Tekstvak 18">
            <a:extLst>
              <a:ext uri="{FF2B5EF4-FFF2-40B4-BE49-F238E27FC236}">
                <a16:creationId xmlns:a16="http://schemas.microsoft.com/office/drawing/2014/main" id="{20A713A7-9DD6-5633-2BB3-66519C58F221}"/>
              </a:ext>
            </a:extLst>
          </p:cNvPr>
          <p:cNvSpPr txBox="1"/>
          <p:nvPr/>
        </p:nvSpPr>
        <p:spPr>
          <a:xfrm>
            <a:off x="6170120" y="3221548"/>
            <a:ext cx="827150" cy="410369"/>
          </a:xfrm>
          <a:prstGeom prst="rect">
            <a:avLst/>
          </a:prstGeom>
          <a:noFill/>
          <a:ln w="12700">
            <a:noFill/>
          </a:ln>
        </p:spPr>
        <p:txBody>
          <a:bodyPr wrap="none" lIns="0" tIns="0" rIns="0" bIns="0" rtlCol="0">
            <a:spAutoFit/>
          </a:bodyPr>
          <a:lstStyle/>
          <a:p>
            <a:pPr algn="ctr">
              <a:lnSpc>
                <a:spcPts val="1633"/>
              </a:lnSpc>
            </a:pPr>
            <a:r>
              <a:rPr lang="en-US" sz="1452" b="1" dirty="0">
                <a:latin typeface="Arial" panose="020B0604020202020204" pitchFamily="34" charset="0"/>
                <a:cs typeface="Arial" panose="020B0604020202020204" pitchFamily="34" charset="0"/>
                <a:sym typeface="Arial" panose="020B0604020202020204" pitchFamily="34" charset="0"/>
              </a:rPr>
              <a:t>LEADER-</a:t>
            </a:r>
          </a:p>
          <a:p>
            <a:pPr algn="ctr">
              <a:lnSpc>
                <a:spcPts val="1633"/>
              </a:lnSpc>
            </a:pPr>
            <a:r>
              <a:rPr lang="en-US" sz="1452" b="1" dirty="0">
                <a:latin typeface="Arial" panose="020B0604020202020204" pitchFamily="34" charset="0"/>
                <a:cs typeface="Arial" panose="020B0604020202020204" pitchFamily="34" charset="0"/>
                <a:sym typeface="Arial" panose="020B0604020202020204" pitchFamily="34" charset="0"/>
              </a:rPr>
              <a:t>SHIP</a:t>
            </a:r>
          </a:p>
        </p:txBody>
      </p:sp>
      <p:sp>
        <p:nvSpPr>
          <p:cNvPr id="20" name="Tekstvak 19">
            <a:extLst>
              <a:ext uri="{FF2B5EF4-FFF2-40B4-BE49-F238E27FC236}">
                <a16:creationId xmlns:a16="http://schemas.microsoft.com/office/drawing/2014/main" id="{6FADF84B-DFA9-13C0-A7F9-A5A3D5B24ACB}"/>
              </a:ext>
            </a:extLst>
          </p:cNvPr>
          <p:cNvSpPr txBox="1"/>
          <p:nvPr/>
        </p:nvSpPr>
        <p:spPr>
          <a:xfrm>
            <a:off x="4871464" y="3221548"/>
            <a:ext cx="829527" cy="829527"/>
          </a:xfrm>
          <a:prstGeom prst="rect">
            <a:avLst/>
          </a:prstGeom>
          <a:noFill/>
          <a:ln w="12700">
            <a:noFill/>
          </a:ln>
        </p:spPr>
        <p:txBody>
          <a:bodyPr wrap="none" lIns="0" tIns="0" rIns="0" bIns="0" rtlCol="0">
            <a:noAutofit/>
          </a:bodyPr>
          <a:lstStyle/>
          <a:p>
            <a:pPr algn="ctr">
              <a:lnSpc>
                <a:spcPts val="1633"/>
              </a:lnSpc>
            </a:pPr>
            <a:r>
              <a:rPr lang="en-US" sz="1452" b="1" dirty="0">
                <a:solidFill>
                  <a:schemeClr val="bg1"/>
                </a:solidFill>
                <a:latin typeface="Arial" panose="020B0604020202020204" pitchFamily="34" charset="0"/>
                <a:cs typeface="Arial" panose="020B0604020202020204" pitchFamily="34" charset="0"/>
                <a:sym typeface="Arial" panose="020B0604020202020204" pitchFamily="34" charset="0"/>
              </a:rPr>
              <a:t>DATA &amp; </a:t>
            </a:r>
          </a:p>
          <a:p>
            <a:pPr algn="ctr">
              <a:lnSpc>
                <a:spcPts val="1633"/>
              </a:lnSpc>
            </a:pPr>
            <a:r>
              <a:rPr lang="en-US" sz="1452" b="1" dirty="0">
                <a:solidFill>
                  <a:schemeClr val="bg1"/>
                </a:solidFill>
                <a:latin typeface="Arial" panose="020B0604020202020204" pitchFamily="34" charset="0"/>
                <a:cs typeface="Arial" panose="020B0604020202020204" pitchFamily="34" charset="0"/>
                <a:sym typeface="Arial" panose="020B0604020202020204" pitchFamily="34" charset="0"/>
              </a:rPr>
              <a:t>AI CRAFT</a:t>
            </a:r>
          </a:p>
        </p:txBody>
      </p:sp>
      <p:sp>
        <p:nvSpPr>
          <p:cNvPr id="27" name="Tekstvak 26">
            <a:extLst>
              <a:ext uri="{FF2B5EF4-FFF2-40B4-BE49-F238E27FC236}">
                <a16:creationId xmlns:a16="http://schemas.microsoft.com/office/drawing/2014/main" id="{9FEF8F4C-8C59-3699-6C02-016DD1EA24AD}"/>
              </a:ext>
            </a:extLst>
          </p:cNvPr>
          <p:cNvSpPr txBox="1"/>
          <p:nvPr/>
        </p:nvSpPr>
        <p:spPr>
          <a:xfrm>
            <a:off x="5467086" y="4763233"/>
            <a:ext cx="829527" cy="829527"/>
          </a:xfrm>
          <a:prstGeom prst="rect">
            <a:avLst/>
          </a:prstGeom>
          <a:noFill/>
          <a:ln w="12700">
            <a:noFill/>
          </a:ln>
        </p:spPr>
        <p:txBody>
          <a:bodyPr wrap="none" lIns="0" tIns="0" rIns="0" bIns="0" rtlCol="0">
            <a:noAutofit/>
          </a:bodyPr>
          <a:lstStyle/>
          <a:p>
            <a:pPr algn="ctr">
              <a:lnSpc>
                <a:spcPts val="1633"/>
              </a:lnSpc>
            </a:pPr>
            <a:r>
              <a:rPr lang="en-US" sz="1452" b="1" dirty="0">
                <a:latin typeface="Arial" panose="020B0604020202020204" pitchFamily="34" charset="0"/>
                <a:cs typeface="Arial" panose="020B0604020202020204" pitchFamily="34" charset="0"/>
                <a:sym typeface="Arial" panose="020B0604020202020204" pitchFamily="34" charset="0"/>
              </a:rPr>
              <a:t>PROFESSIONAL</a:t>
            </a:r>
          </a:p>
        </p:txBody>
      </p:sp>
      <p:grpSp>
        <p:nvGrpSpPr>
          <p:cNvPr id="28" name="Groep 27">
            <a:extLst>
              <a:ext uri="{FF2B5EF4-FFF2-40B4-BE49-F238E27FC236}">
                <a16:creationId xmlns:a16="http://schemas.microsoft.com/office/drawing/2014/main" id="{415AD282-4ED8-EA6D-175A-DE34A5A14754}"/>
              </a:ext>
            </a:extLst>
          </p:cNvPr>
          <p:cNvGrpSpPr/>
          <p:nvPr/>
        </p:nvGrpSpPr>
        <p:grpSpPr>
          <a:xfrm>
            <a:off x="704353" y="1250282"/>
            <a:ext cx="2987604" cy="3186419"/>
            <a:chOff x="775720" y="2144046"/>
            <a:chExt cx="3293280" cy="3512437"/>
          </a:xfrm>
        </p:grpSpPr>
        <p:sp>
          <p:nvSpPr>
            <p:cNvPr id="29" name="Rectangle: Rounded Corners 11">
              <a:extLst>
                <a:ext uri="{FF2B5EF4-FFF2-40B4-BE49-F238E27FC236}">
                  <a16:creationId xmlns:a16="http://schemas.microsoft.com/office/drawing/2014/main" id="{A8473540-D2ED-176A-5D06-3D3ACBCDBA29}"/>
                </a:ext>
              </a:extLst>
            </p:cNvPr>
            <p:cNvSpPr/>
            <p:nvPr/>
          </p:nvSpPr>
          <p:spPr>
            <a:xfrm>
              <a:off x="785909" y="4195657"/>
              <a:ext cx="3264089" cy="689921"/>
            </a:xfrm>
            <a:prstGeom prst="roundRect">
              <a:avLst>
                <a:gd name="adj" fmla="val 0"/>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Data AI translation</a:t>
              </a:r>
            </a:p>
          </p:txBody>
        </p:sp>
        <p:sp>
          <p:nvSpPr>
            <p:cNvPr id="30" name="Rechthoek: afgeronde hoeken 29">
              <a:extLst>
                <a:ext uri="{FF2B5EF4-FFF2-40B4-BE49-F238E27FC236}">
                  <a16:creationId xmlns:a16="http://schemas.microsoft.com/office/drawing/2014/main" id="{92B7ACE7-12E2-EB70-A0CE-9DB19398C7F8}"/>
                </a:ext>
              </a:extLst>
            </p:cNvPr>
            <p:cNvSpPr/>
            <p:nvPr/>
          </p:nvSpPr>
          <p:spPr>
            <a:xfrm>
              <a:off x="808275" y="2144046"/>
              <a:ext cx="3093280" cy="359925"/>
            </a:xfrm>
            <a:prstGeom prst="roundRect">
              <a:avLst>
                <a:gd name="adj" fmla="val 0"/>
              </a:avLst>
            </a:prstGeom>
            <a:no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270" b="1" dirty="0">
                  <a:latin typeface="Arial" panose="020B0604020202020204" pitchFamily="34" charset="0"/>
                  <a:cs typeface="Arial" panose="020B0604020202020204" pitchFamily="34" charset="0"/>
                  <a:sym typeface="Arial" panose="020B0604020202020204" pitchFamily="34" charset="0"/>
                </a:rPr>
                <a:t>DATA &amp; AI CRAFT CAPABILITIES</a:t>
              </a:r>
            </a:p>
          </p:txBody>
        </p:sp>
        <p:sp>
          <p:nvSpPr>
            <p:cNvPr id="31" name="Rectangle: Rounded Corners 11">
              <a:extLst>
                <a:ext uri="{FF2B5EF4-FFF2-40B4-BE49-F238E27FC236}">
                  <a16:creationId xmlns:a16="http://schemas.microsoft.com/office/drawing/2014/main" id="{D30B683E-6CF2-71FF-D178-3D1D597F84F8}"/>
                </a:ext>
              </a:extLst>
            </p:cNvPr>
            <p:cNvSpPr/>
            <p:nvPr/>
          </p:nvSpPr>
          <p:spPr>
            <a:xfrm>
              <a:off x="775720" y="2661049"/>
              <a:ext cx="3293280" cy="689921"/>
            </a:xfrm>
            <a:prstGeom prst="roundRect">
              <a:avLst>
                <a:gd name="adj" fmla="val 2434"/>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Data Science</a:t>
              </a:r>
            </a:p>
          </p:txBody>
        </p:sp>
        <p:sp>
          <p:nvSpPr>
            <p:cNvPr id="32" name="Rectangle: Rounded Corners 11">
              <a:extLst>
                <a:ext uri="{FF2B5EF4-FFF2-40B4-BE49-F238E27FC236}">
                  <a16:creationId xmlns:a16="http://schemas.microsoft.com/office/drawing/2014/main" id="{1D2871C4-7140-F201-513E-7BA6D17A116E}"/>
                </a:ext>
              </a:extLst>
            </p:cNvPr>
            <p:cNvSpPr/>
            <p:nvPr/>
          </p:nvSpPr>
          <p:spPr>
            <a:xfrm>
              <a:off x="775720" y="3434876"/>
              <a:ext cx="3293280" cy="689921"/>
            </a:xfrm>
            <a:prstGeom prst="roundRect">
              <a:avLst>
                <a:gd name="adj" fmla="val 0"/>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Engineering</a:t>
              </a:r>
            </a:p>
          </p:txBody>
        </p:sp>
        <p:sp>
          <p:nvSpPr>
            <p:cNvPr id="6" name="Rectangle: Rounded Corners 11">
              <a:extLst>
                <a:ext uri="{FF2B5EF4-FFF2-40B4-BE49-F238E27FC236}">
                  <a16:creationId xmlns:a16="http://schemas.microsoft.com/office/drawing/2014/main" id="{6E139163-9185-E591-4B69-2F894BC8B29D}"/>
                </a:ext>
              </a:extLst>
            </p:cNvPr>
            <p:cNvSpPr/>
            <p:nvPr/>
          </p:nvSpPr>
          <p:spPr>
            <a:xfrm>
              <a:off x="785909" y="4966562"/>
              <a:ext cx="3264089" cy="689921"/>
            </a:xfrm>
            <a:prstGeom prst="roundRect">
              <a:avLst>
                <a:gd name="adj" fmla="val 0"/>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err="1">
                  <a:latin typeface="Arial" panose="020B0604020202020204" pitchFamily="34" charset="0"/>
                  <a:cs typeface="Arial" panose="020B0604020202020204" pitchFamily="34" charset="0"/>
                  <a:sym typeface="Arial" panose="020B0604020202020204" pitchFamily="34" charset="0"/>
                </a:rPr>
                <a:t>DAIdactics</a:t>
              </a:r>
              <a:endParaRPr lang="en-US" sz="1452" dirty="0">
                <a:latin typeface="Arial" panose="020B0604020202020204" pitchFamily="34" charset="0"/>
                <a:cs typeface="Arial" panose="020B0604020202020204" pitchFamily="34" charset="0"/>
                <a:sym typeface="Arial" panose="020B0604020202020204" pitchFamily="34" charset="0"/>
              </a:endParaRPr>
            </a:p>
          </p:txBody>
        </p:sp>
      </p:grpSp>
      <p:sp>
        <p:nvSpPr>
          <p:cNvPr id="35" name="Rectangle: Rounded Corners 11">
            <a:extLst>
              <a:ext uri="{FF2B5EF4-FFF2-40B4-BE49-F238E27FC236}">
                <a16:creationId xmlns:a16="http://schemas.microsoft.com/office/drawing/2014/main" id="{791966B8-770F-8F76-3EB6-A4C8199D9471}"/>
              </a:ext>
            </a:extLst>
          </p:cNvPr>
          <p:cNvSpPr/>
          <p:nvPr/>
        </p:nvSpPr>
        <p:spPr>
          <a:xfrm>
            <a:off x="1319677" y="5504837"/>
            <a:ext cx="2233860" cy="846735"/>
          </a:xfrm>
          <a:prstGeom prst="roundRect">
            <a:avLst>
              <a:gd name="adj" fmla="val 0"/>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Effective communication</a:t>
            </a:r>
          </a:p>
        </p:txBody>
      </p:sp>
      <p:sp>
        <p:nvSpPr>
          <p:cNvPr id="36" name="Rectangle: Rounded Corners 11">
            <a:extLst>
              <a:ext uri="{FF2B5EF4-FFF2-40B4-BE49-F238E27FC236}">
                <a16:creationId xmlns:a16="http://schemas.microsoft.com/office/drawing/2014/main" id="{0094BED4-3EE7-8E7D-008C-A757CDAB2816}"/>
              </a:ext>
            </a:extLst>
          </p:cNvPr>
          <p:cNvSpPr/>
          <p:nvPr/>
        </p:nvSpPr>
        <p:spPr>
          <a:xfrm>
            <a:off x="3639583" y="5493173"/>
            <a:ext cx="2233860" cy="846735"/>
          </a:xfrm>
          <a:prstGeom prst="roundRect">
            <a:avLst>
              <a:gd name="adj" fmla="val 0"/>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Delivery management</a:t>
            </a:r>
          </a:p>
        </p:txBody>
      </p:sp>
      <p:sp>
        <p:nvSpPr>
          <p:cNvPr id="37" name="Rectangle: Rounded Corners 11">
            <a:extLst>
              <a:ext uri="{FF2B5EF4-FFF2-40B4-BE49-F238E27FC236}">
                <a16:creationId xmlns:a16="http://schemas.microsoft.com/office/drawing/2014/main" id="{2BC7ACD1-6FE4-0D73-22BE-4663D508F9FC}"/>
              </a:ext>
            </a:extLst>
          </p:cNvPr>
          <p:cNvSpPr/>
          <p:nvPr/>
        </p:nvSpPr>
        <p:spPr>
          <a:xfrm>
            <a:off x="5959489" y="5484675"/>
            <a:ext cx="2233860" cy="846735"/>
          </a:xfrm>
          <a:prstGeom prst="roundRect">
            <a:avLst>
              <a:gd name="adj" fmla="val 0"/>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Problem solving &amp; concepts</a:t>
            </a:r>
          </a:p>
        </p:txBody>
      </p:sp>
      <p:sp>
        <p:nvSpPr>
          <p:cNvPr id="34" name="Rechthoek: afgeronde hoeken 33">
            <a:extLst>
              <a:ext uri="{FF2B5EF4-FFF2-40B4-BE49-F238E27FC236}">
                <a16:creationId xmlns:a16="http://schemas.microsoft.com/office/drawing/2014/main" id="{33176DE6-FA36-A772-1E1F-BEDF9C895F6B}"/>
              </a:ext>
            </a:extLst>
          </p:cNvPr>
          <p:cNvSpPr/>
          <p:nvPr/>
        </p:nvSpPr>
        <p:spPr>
          <a:xfrm>
            <a:off x="4528553" y="6409514"/>
            <a:ext cx="2861868" cy="326517"/>
          </a:xfrm>
          <a:prstGeom prst="roundRect">
            <a:avLst>
              <a:gd name="adj" fmla="val 0"/>
            </a:avLst>
          </a:prstGeom>
          <a:noFill/>
        </p:spPr>
        <p:txBody>
          <a:bodyPr rot="0" spcFirstLastPara="0" vertOverflow="overflow" horzOverflow="overflow" vert="horz" wrap="square" lIns="65317" tIns="65317" rIns="65317" bIns="65317" numCol="1" spcCol="0" rtlCol="0" fromWordArt="0" anchor="ctr" anchorCtr="0" forceAA="0" compatLnSpc="1">
            <a:prstTxWarp prst="textNoShape">
              <a:avLst/>
            </a:prstTxWarp>
            <a:noAutofit/>
          </a:bodyPr>
          <a:lstStyle/>
          <a:p>
            <a:pPr algn="ctr"/>
            <a:r>
              <a:rPr lang="en-US" sz="1270" b="1" dirty="0">
                <a:latin typeface="Arial" panose="020B0604020202020204" pitchFamily="34" charset="0"/>
                <a:cs typeface="Arial" panose="020B0604020202020204" pitchFamily="34" charset="0"/>
                <a:sym typeface="Arial" panose="020B0604020202020204" pitchFamily="34" charset="0"/>
              </a:rPr>
              <a:t>PROFESSIONAL SERVICES COMPETENCIES</a:t>
            </a:r>
          </a:p>
        </p:txBody>
      </p:sp>
      <p:grpSp>
        <p:nvGrpSpPr>
          <p:cNvPr id="40" name="Groep 39">
            <a:extLst>
              <a:ext uri="{FF2B5EF4-FFF2-40B4-BE49-F238E27FC236}">
                <a16:creationId xmlns:a16="http://schemas.microsoft.com/office/drawing/2014/main" id="{1A1AC8C4-490C-A8DF-E64F-50AA99F73722}"/>
              </a:ext>
            </a:extLst>
          </p:cNvPr>
          <p:cNvGrpSpPr/>
          <p:nvPr/>
        </p:nvGrpSpPr>
        <p:grpSpPr>
          <a:xfrm>
            <a:off x="5312247" y="3220599"/>
            <a:ext cx="1562086" cy="1469113"/>
            <a:chOff x="1087967" y="2615445"/>
            <a:chExt cx="3003196" cy="2824448"/>
          </a:xfrm>
          <a:solidFill>
            <a:schemeClr val="accent6">
              <a:lumMod val="20000"/>
              <a:lumOff val="80000"/>
            </a:schemeClr>
          </a:solidFill>
        </p:grpSpPr>
        <p:grpSp>
          <p:nvGrpSpPr>
            <p:cNvPr id="41" name="Groep 40">
              <a:extLst>
                <a:ext uri="{FF2B5EF4-FFF2-40B4-BE49-F238E27FC236}">
                  <a16:creationId xmlns:a16="http://schemas.microsoft.com/office/drawing/2014/main" id="{8E968386-8819-7631-3EE6-A78395BBD240}"/>
                </a:ext>
              </a:extLst>
            </p:cNvPr>
            <p:cNvGrpSpPr/>
            <p:nvPr/>
          </p:nvGrpSpPr>
          <p:grpSpPr>
            <a:xfrm>
              <a:off x="1087967" y="2615445"/>
              <a:ext cx="3003196" cy="2201333"/>
              <a:chOff x="1087967" y="2615445"/>
              <a:chExt cx="3003196" cy="2201333"/>
            </a:xfrm>
            <a:grpFill/>
          </p:grpSpPr>
          <p:sp>
            <p:nvSpPr>
              <p:cNvPr id="43" name="Vrije vorm: vorm 42">
                <a:extLst>
                  <a:ext uri="{FF2B5EF4-FFF2-40B4-BE49-F238E27FC236}">
                    <a16:creationId xmlns:a16="http://schemas.microsoft.com/office/drawing/2014/main" id="{A3A65524-4EB5-EF0E-EBFE-FB34A5080B02}"/>
                  </a:ext>
                </a:extLst>
              </p:cNvPr>
              <p:cNvSpPr/>
              <p:nvPr/>
            </p:nvSpPr>
            <p:spPr>
              <a:xfrm>
                <a:off x="1087967" y="2615445"/>
                <a:ext cx="1265767" cy="2201333"/>
              </a:xfrm>
              <a:custGeom>
                <a:avLst/>
                <a:gdLst>
                  <a:gd name="connsiteX0" fmla="*/ 0 w 1265767"/>
                  <a:gd name="connsiteY0" fmla="*/ 2201333 h 2201333"/>
                  <a:gd name="connsiteX1" fmla="*/ 1265767 w 1265767"/>
                  <a:gd name="connsiteY1" fmla="*/ 1452033 h 2201333"/>
                  <a:gd name="connsiteX2" fmla="*/ 1253067 w 1265767"/>
                  <a:gd name="connsiteY2" fmla="*/ 0 h 2201333"/>
                  <a:gd name="connsiteX3" fmla="*/ 0 w 1265767"/>
                  <a:gd name="connsiteY3" fmla="*/ 2201333 h 2201333"/>
                </a:gdLst>
                <a:ahLst/>
                <a:cxnLst>
                  <a:cxn ang="0">
                    <a:pos x="connsiteX0" y="connsiteY0"/>
                  </a:cxn>
                  <a:cxn ang="0">
                    <a:pos x="connsiteX1" y="connsiteY1"/>
                  </a:cxn>
                  <a:cxn ang="0">
                    <a:pos x="connsiteX2" y="connsiteY2"/>
                  </a:cxn>
                  <a:cxn ang="0">
                    <a:pos x="connsiteX3" y="connsiteY3"/>
                  </a:cxn>
                </a:cxnLst>
                <a:rect l="l" t="t" r="r" b="b"/>
                <a:pathLst>
                  <a:path w="1265767" h="2201333">
                    <a:moveTo>
                      <a:pt x="0" y="2201333"/>
                    </a:moveTo>
                    <a:lnTo>
                      <a:pt x="1265767" y="1452033"/>
                    </a:lnTo>
                    <a:lnTo>
                      <a:pt x="1253067" y="0"/>
                    </a:lnTo>
                    <a:lnTo>
                      <a:pt x="0" y="2201333"/>
                    </a:lnTo>
                    <a:close/>
                  </a:path>
                </a:pathLst>
              </a:custGeom>
              <a:grpFill/>
            </p:spPr>
            <p:txBody>
              <a:bodyPr rot="0" spcFirstLastPara="0" vertOverflow="overflow" horzOverflow="overflow" vert="horz" wrap="square" lIns="65317" tIns="65317" rIns="65317" bIns="65317" numCol="1" spcCol="0" rtlCol="0" fromWordArt="0" anchor="t" anchorCtr="0" forceAA="0" compatLnSpc="1">
                <a:prstTxWarp prst="textNoShape">
                  <a:avLst/>
                </a:prstTxWarp>
                <a:noAutofit/>
              </a:bodyPr>
              <a:lstStyle/>
              <a:p>
                <a:pPr algn="l"/>
                <a:endParaRPr lang="en-US" sz="1089"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4" name="Vrije vorm: vorm 43">
                <a:extLst>
                  <a:ext uri="{FF2B5EF4-FFF2-40B4-BE49-F238E27FC236}">
                    <a16:creationId xmlns:a16="http://schemas.microsoft.com/office/drawing/2014/main" id="{09F616B1-C5FD-C7B6-20F6-D1F71CE3F570}"/>
                  </a:ext>
                </a:extLst>
              </p:cNvPr>
              <p:cNvSpPr/>
              <p:nvPr/>
            </p:nvSpPr>
            <p:spPr>
              <a:xfrm rot="7200000">
                <a:off x="2357613" y="2605077"/>
                <a:ext cx="1265767" cy="2201333"/>
              </a:xfrm>
              <a:custGeom>
                <a:avLst/>
                <a:gdLst>
                  <a:gd name="connsiteX0" fmla="*/ 0 w 1265767"/>
                  <a:gd name="connsiteY0" fmla="*/ 2201333 h 2201333"/>
                  <a:gd name="connsiteX1" fmla="*/ 1265767 w 1265767"/>
                  <a:gd name="connsiteY1" fmla="*/ 1452033 h 2201333"/>
                  <a:gd name="connsiteX2" fmla="*/ 1253067 w 1265767"/>
                  <a:gd name="connsiteY2" fmla="*/ 0 h 2201333"/>
                  <a:gd name="connsiteX3" fmla="*/ 0 w 1265767"/>
                  <a:gd name="connsiteY3" fmla="*/ 2201333 h 2201333"/>
                </a:gdLst>
                <a:ahLst/>
                <a:cxnLst>
                  <a:cxn ang="0">
                    <a:pos x="connsiteX0" y="connsiteY0"/>
                  </a:cxn>
                  <a:cxn ang="0">
                    <a:pos x="connsiteX1" y="connsiteY1"/>
                  </a:cxn>
                  <a:cxn ang="0">
                    <a:pos x="connsiteX2" y="connsiteY2"/>
                  </a:cxn>
                  <a:cxn ang="0">
                    <a:pos x="connsiteX3" y="connsiteY3"/>
                  </a:cxn>
                </a:cxnLst>
                <a:rect l="l" t="t" r="r" b="b"/>
                <a:pathLst>
                  <a:path w="1265767" h="2201333">
                    <a:moveTo>
                      <a:pt x="0" y="2201333"/>
                    </a:moveTo>
                    <a:lnTo>
                      <a:pt x="1265767" y="1452033"/>
                    </a:lnTo>
                    <a:lnTo>
                      <a:pt x="1253067" y="0"/>
                    </a:lnTo>
                    <a:lnTo>
                      <a:pt x="0" y="2201333"/>
                    </a:lnTo>
                    <a:close/>
                  </a:path>
                </a:pathLst>
              </a:custGeom>
              <a:grpFill/>
            </p:spPr>
            <p:txBody>
              <a:bodyPr rot="0" spcFirstLastPara="0" vertOverflow="overflow" horzOverflow="overflow" vert="horz" wrap="square" lIns="65317" tIns="65317" rIns="65317" bIns="65317" numCol="1" spcCol="0" rtlCol="0" fromWordArt="0" anchor="t" anchorCtr="0" forceAA="0" compatLnSpc="1">
                <a:prstTxWarp prst="textNoShape">
                  <a:avLst/>
                </a:prstTxWarp>
                <a:noAutofit/>
              </a:bodyPr>
              <a:lstStyle/>
              <a:p>
                <a:pPr algn="l"/>
                <a:endParaRPr lang="en-US" sz="1089"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sp>
          <p:nvSpPr>
            <p:cNvPr id="42" name="Vrije vorm: vorm 41">
              <a:extLst>
                <a:ext uri="{FF2B5EF4-FFF2-40B4-BE49-F238E27FC236}">
                  <a16:creationId xmlns:a16="http://schemas.microsoft.com/office/drawing/2014/main" id="{CDC7D765-97EB-E0A4-CBAC-F29D6BE67956}"/>
                </a:ext>
              </a:extLst>
            </p:cNvPr>
            <p:cNvSpPr/>
            <p:nvPr/>
          </p:nvSpPr>
          <p:spPr>
            <a:xfrm rot="14400000">
              <a:off x="1720850" y="3706343"/>
              <a:ext cx="1265767" cy="2201333"/>
            </a:xfrm>
            <a:custGeom>
              <a:avLst/>
              <a:gdLst>
                <a:gd name="connsiteX0" fmla="*/ 0 w 1265767"/>
                <a:gd name="connsiteY0" fmla="*/ 2201333 h 2201333"/>
                <a:gd name="connsiteX1" fmla="*/ 1265767 w 1265767"/>
                <a:gd name="connsiteY1" fmla="*/ 1452033 h 2201333"/>
                <a:gd name="connsiteX2" fmla="*/ 1253067 w 1265767"/>
                <a:gd name="connsiteY2" fmla="*/ 0 h 2201333"/>
                <a:gd name="connsiteX3" fmla="*/ 0 w 1265767"/>
                <a:gd name="connsiteY3" fmla="*/ 2201333 h 2201333"/>
              </a:gdLst>
              <a:ahLst/>
              <a:cxnLst>
                <a:cxn ang="0">
                  <a:pos x="connsiteX0" y="connsiteY0"/>
                </a:cxn>
                <a:cxn ang="0">
                  <a:pos x="connsiteX1" y="connsiteY1"/>
                </a:cxn>
                <a:cxn ang="0">
                  <a:pos x="connsiteX2" y="connsiteY2"/>
                </a:cxn>
                <a:cxn ang="0">
                  <a:pos x="connsiteX3" y="connsiteY3"/>
                </a:cxn>
              </a:cxnLst>
              <a:rect l="l" t="t" r="r" b="b"/>
              <a:pathLst>
                <a:path w="1265767" h="2201333">
                  <a:moveTo>
                    <a:pt x="0" y="2201333"/>
                  </a:moveTo>
                  <a:lnTo>
                    <a:pt x="1265767" y="1452033"/>
                  </a:lnTo>
                  <a:lnTo>
                    <a:pt x="1253067" y="0"/>
                  </a:lnTo>
                  <a:lnTo>
                    <a:pt x="0" y="2201333"/>
                  </a:lnTo>
                  <a:close/>
                </a:path>
              </a:pathLst>
            </a:custGeom>
            <a:grpFill/>
          </p:spPr>
          <p:txBody>
            <a:bodyPr rot="0" spcFirstLastPara="0" vertOverflow="overflow" horzOverflow="overflow" vert="horz" wrap="square" lIns="65317" tIns="65317" rIns="65317" bIns="65317" numCol="1" spcCol="0" rtlCol="0" fromWordArt="0" anchor="t" anchorCtr="0" forceAA="0" compatLnSpc="1">
              <a:prstTxWarp prst="textNoShape">
                <a:avLst/>
              </a:prstTxWarp>
              <a:noAutofit/>
            </a:bodyPr>
            <a:lstStyle/>
            <a:p>
              <a:pPr algn="l"/>
              <a:endParaRPr lang="en-US" sz="1089"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sp>
        <p:nvSpPr>
          <p:cNvPr id="45" name="Rechthoek: afgeronde hoeken 44">
            <a:extLst>
              <a:ext uri="{FF2B5EF4-FFF2-40B4-BE49-F238E27FC236}">
                <a16:creationId xmlns:a16="http://schemas.microsoft.com/office/drawing/2014/main" id="{99225CDE-DFFD-8B80-9514-7F56E2C5987D}"/>
              </a:ext>
            </a:extLst>
          </p:cNvPr>
          <p:cNvSpPr/>
          <p:nvPr/>
        </p:nvSpPr>
        <p:spPr>
          <a:xfrm>
            <a:off x="5222159" y="3841378"/>
            <a:ext cx="1562086" cy="288856"/>
          </a:xfrm>
          <a:prstGeom prst="roundRect">
            <a:avLst>
              <a:gd name="adj" fmla="val 50000"/>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89" b="1" dirty="0">
                <a:latin typeface="Arial" panose="020B0604020202020204" pitchFamily="34" charset="0"/>
                <a:cs typeface="Arial" panose="020B0604020202020204" pitchFamily="34" charset="0"/>
                <a:sym typeface="Arial" panose="020B0604020202020204" pitchFamily="34" charset="0"/>
              </a:rPr>
              <a:t>PEOPLE</a:t>
            </a:r>
          </a:p>
        </p:txBody>
      </p:sp>
      <p:sp>
        <p:nvSpPr>
          <p:cNvPr id="8" name="Rectangle: Rounded Corners 11">
            <a:extLst>
              <a:ext uri="{FF2B5EF4-FFF2-40B4-BE49-F238E27FC236}">
                <a16:creationId xmlns:a16="http://schemas.microsoft.com/office/drawing/2014/main" id="{C2858384-A5B2-2B57-0759-3D7E7DD7F6D0}"/>
              </a:ext>
            </a:extLst>
          </p:cNvPr>
          <p:cNvSpPr/>
          <p:nvPr/>
        </p:nvSpPr>
        <p:spPr>
          <a:xfrm>
            <a:off x="8306924" y="5484675"/>
            <a:ext cx="2233860" cy="846735"/>
          </a:xfrm>
          <a:prstGeom prst="roundRect">
            <a:avLst>
              <a:gd name="adj" fmla="val 0"/>
            </a:avLst>
          </a:prstGeom>
          <a:no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452" dirty="0">
                <a:latin typeface="Arial" panose="020B0604020202020204" pitchFamily="34" charset="0"/>
                <a:cs typeface="Arial" panose="020B0604020202020204" pitchFamily="34" charset="0"/>
                <a:sym typeface="Arial" panose="020B0604020202020204" pitchFamily="34" charset="0"/>
              </a:rPr>
              <a:t>Quality, risk &amp; compliance</a:t>
            </a:r>
          </a:p>
        </p:txBody>
      </p:sp>
      <p:cxnSp>
        <p:nvCxnSpPr>
          <p:cNvPr id="3" name="Straight Connector 11">
            <a:extLst>
              <a:ext uri="{FF2B5EF4-FFF2-40B4-BE49-F238E27FC236}">
                <a16:creationId xmlns:a16="http://schemas.microsoft.com/office/drawing/2014/main" id="{D7FA8048-36F7-783B-5B14-8217B3AAAD08}"/>
              </a:ext>
            </a:extLst>
          </p:cNvPr>
          <p:cNvCxnSpPr/>
          <p:nvPr/>
        </p:nvCxnSpPr>
        <p:spPr>
          <a:xfrm>
            <a:off x="8205140" y="1599161"/>
            <a:ext cx="298760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12">
            <a:extLst>
              <a:ext uri="{FF2B5EF4-FFF2-40B4-BE49-F238E27FC236}">
                <a16:creationId xmlns:a16="http://schemas.microsoft.com/office/drawing/2014/main" id="{B09CB903-243F-43DD-AC21-88AAE68FFEBE}"/>
              </a:ext>
            </a:extLst>
          </p:cNvPr>
          <p:cNvCxnSpPr/>
          <p:nvPr/>
        </p:nvCxnSpPr>
        <p:spPr>
          <a:xfrm>
            <a:off x="552450" y="1599161"/>
            <a:ext cx="298760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13">
            <a:extLst>
              <a:ext uri="{FF2B5EF4-FFF2-40B4-BE49-F238E27FC236}">
                <a16:creationId xmlns:a16="http://schemas.microsoft.com/office/drawing/2014/main" id="{46976E9E-7180-5965-0F86-623EAA0C30AC}"/>
              </a:ext>
            </a:extLst>
          </p:cNvPr>
          <p:cNvCxnSpPr/>
          <p:nvPr/>
        </p:nvCxnSpPr>
        <p:spPr>
          <a:xfrm>
            <a:off x="4528553" y="6308725"/>
            <a:ext cx="298760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0937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F195D9A2-0A75-922E-F88E-BA049D6CB0B5}"/>
              </a:ext>
            </a:extLst>
          </p:cNvPr>
          <p:cNvGraphicFramePr>
            <a:graphicFrameLocks noChangeAspect="1"/>
          </p:cNvGraphicFramePr>
          <p:nvPr>
            <p:custDataLst>
              <p:tags r:id="rId1"/>
            </p:custDataLst>
            <p:extLst>
              <p:ext uri="{D42A27DB-BD31-4B8C-83A1-F6EECF244321}">
                <p14:modId xmlns:p14="http://schemas.microsoft.com/office/powerpoint/2010/main" val="395342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8" name="think-cell data - do not delete" hidden="1">
                        <a:extLst>
                          <a:ext uri="{FF2B5EF4-FFF2-40B4-BE49-F238E27FC236}">
                            <a16:creationId xmlns:a16="http://schemas.microsoft.com/office/drawing/2014/main" id="{F195D9A2-0A75-922E-F88E-BA049D6CB0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jdelijke aanduiding voor tekst 2">
            <a:extLst>
              <a:ext uri="{FF2B5EF4-FFF2-40B4-BE49-F238E27FC236}">
                <a16:creationId xmlns:a16="http://schemas.microsoft.com/office/drawing/2014/main" id="{8F7F5527-3D1D-17AA-3DD5-1F83405E2355}"/>
              </a:ext>
            </a:extLst>
          </p:cNvPr>
          <p:cNvSpPr>
            <a:spLocks noGrp="1"/>
          </p:cNvSpPr>
          <p:nvPr>
            <p:ph type="body" sz="quarter" idx="18"/>
          </p:nvPr>
        </p:nvSpPr>
        <p:spPr/>
        <p:txBody>
          <a:bodyPr/>
          <a:lstStyle/>
          <a:p>
            <a:endParaRPr lang="en-US" dirty="0"/>
          </a:p>
        </p:txBody>
      </p:sp>
      <p:sp>
        <p:nvSpPr>
          <p:cNvPr id="61" name="Text Placeholder 60">
            <a:extLst>
              <a:ext uri="{FF2B5EF4-FFF2-40B4-BE49-F238E27FC236}">
                <a16:creationId xmlns:a16="http://schemas.microsoft.com/office/drawing/2014/main" id="{1660F782-41B8-183E-A0FC-951937F7CDBE}"/>
              </a:ext>
            </a:extLst>
          </p:cNvPr>
          <p:cNvSpPr>
            <a:spLocks noGrp="1"/>
          </p:cNvSpPr>
          <p:nvPr>
            <p:ph type="body" sz="quarter" idx="19"/>
          </p:nvPr>
        </p:nvSpPr>
        <p:spPr/>
        <p:txBody>
          <a:bodyPr/>
          <a:lstStyle/>
          <a:p>
            <a:endParaRPr lang="nl-NL" dirty="0"/>
          </a:p>
        </p:txBody>
      </p:sp>
      <p:sp>
        <p:nvSpPr>
          <p:cNvPr id="60" name="Title 59">
            <a:extLst>
              <a:ext uri="{FF2B5EF4-FFF2-40B4-BE49-F238E27FC236}">
                <a16:creationId xmlns:a16="http://schemas.microsoft.com/office/drawing/2014/main" id="{8D929F28-9379-25C5-85C9-F2487E811375}"/>
              </a:ext>
            </a:extLst>
          </p:cNvPr>
          <p:cNvSpPr>
            <a:spLocks noGrp="1"/>
          </p:cNvSpPr>
          <p:nvPr>
            <p:ph type="title"/>
          </p:nvPr>
        </p:nvSpPr>
        <p:spPr>
          <a:xfrm>
            <a:off x="552450" y="493518"/>
            <a:ext cx="11075988" cy="430887"/>
          </a:xfrm>
        </p:spPr>
        <p:txBody>
          <a:bodyPr vert="horz"/>
          <a:lstStyle/>
          <a:p>
            <a:r>
              <a:rPr lang="en-US" dirty="0"/>
              <a:t>Overview of the sub competencies and sub capabilities per area</a:t>
            </a:r>
            <a:endParaRPr lang="nl-NL" dirty="0"/>
          </a:p>
        </p:txBody>
      </p:sp>
      <p:sp>
        <p:nvSpPr>
          <p:cNvPr id="62" name="Text Placeholder 61">
            <a:extLst>
              <a:ext uri="{FF2B5EF4-FFF2-40B4-BE49-F238E27FC236}">
                <a16:creationId xmlns:a16="http://schemas.microsoft.com/office/drawing/2014/main" id="{2B941315-2C74-EA01-CFE5-E76232AFC791}"/>
              </a:ext>
            </a:extLst>
          </p:cNvPr>
          <p:cNvSpPr>
            <a:spLocks noGrp="1"/>
          </p:cNvSpPr>
          <p:nvPr>
            <p:ph type="body" sz="quarter" idx="21"/>
          </p:nvPr>
        </p:nvSpPr>
        <p:spPr/>
        <p:txBody>
          <a:bodyPr/>
          <a:lstStyle/>
          <a:p>
            <a:endParaRPr lang="nl-NL"/>
          </a:p>
        </p:txBody>
      </p:sp>
      <p:sp>
        <p:nvSpPr>
          <p:cNvPr id="15" name="Rectangle: Rounded Corners 11">
            <a:extLst>
              <a:ext uri="{FF2B5EF4-FFF2-40B4-BE49-F238E27FC236}">
                <a16:creationId xmlns:a16="http://schemas.microsoft.com/office/drawing/2014/main" id="{1970F752-9F9F-17E5-A09C-0820EB1FA857}"/>
              </a:ext>
            </a:extLst>
          </p:cNvPr>
          <p:cNvSpPr/>
          <p:nvPr/>
        </p:nvSpPr>
        <p:spPr>
          <a:xfrm>
            <a:off x="552451" y="3908817"/>
            <a:ext cx="1492250" cy="1056243"/>
          </a:xfrm>
          <a:prstGeom prst="roundRect">
            <a:avLst>
              <a:gd name="adj" fmla="val 0"/>
            </a:avLst>
          </a:prstGeom>
          <a:noFill/>
          <a:ln w="19050">
            <a:solidFill>
              <a:schemeClr val="accent3"/>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Data AI translation</a:t>
            </a:r>
          </a:p>
        </p:txBody>
      </p:sp>
      <p:sp>
        <p:nvSpPr>
          <p:cNvPr id="17" name="Rectangle: Rounded Corners 11">
            <a:extLst>
              <a:ext uri="{FF2B5EF4-FFF2-40B4-BE49-F238E27FC236}">
                <a16:creationId xmlns:a16="http://schemas.microsoft.com/office/drawing/2014/main" id="{E82BB781-A76C-B9EB-95C2-0535E99FA02F}"/>
              </a:ext>
            </a:extLst>
          </p:cNvPr>
          <p:cNvSpPr/>
          <p:nvPr/>
        </p:nvSpPr>
        <p:spPr>
          <a:xfrm>
            <a:off x="552451" y="1632361"/>
            <a:ext cx="1492250" cy="1056243"/>
          </a:xfrm>
          <a:prstGeom prst="roundRect">
            <a:avLst>
              <a:gd name="adj" fmla="val 0"/>
            </a:avLst>
          </a:prstGeom>
          <a:noFill/>
          <a:ln w="19050">
            <a:solidFill>
              <a:schemeClr val="accent3"/>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Data Science</a:t>
            </a:r>
          </a:p>
        </p:txBody>
      </p:sp>
      <p:sp>
        <p:nvSpPr>
          <p:cNvPr id="18" name="Rectangle: Rounded Corners 11">
            <a:extLst>
              <a:ext uri="{FF2B5EF4-FFF2-40B4-BE49-F238E27FC236}">
                <a16:creationId xmlns:a16="http://schemas.microsoft.com/office/drawing/2014/main" id="{0DF26105-F1AF-2D7E-3786-9DF2373BB293}"/>
              </a:ext>
            </a:extLst>
          </p:cNvPr>
          <p:cNvSpPr/>
          <p:nvPr/>
        </p:nvSpPr>
        <p:spPr>
          <a:xfrm>
            <a:off x="552451" y="2770589"/>
            <a:ext cx="1492250" cy="1056243"/>
          </a:xfrm>
          <a:prstGeom prst="roundRect">
            <a:avLst>
              <a:gd name="adj" fmla="val 0"/>
            </a:avLst>
          </a:prstGeom>
          <a:noFill/>
          <a:ln w="19050">
            <a:solidFill>
              <a:schemeClr val="accent3"/>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Engineering</a:t>
            </a:r>
          </a:p>
        </p:txBody>
      </p:sp>
      <p:sp>
        <p:nvSpPr>
          <p:cNvPr id="19" name="Tekstvak 18">
            <a:extLst>
              <a:ext uri="{FF2B5EF4-FFF2-40B4-BE49-F238E27FC236}">
                <a16:creationId xmlns:a16="http://schemas.microsoft.com/office/drawing/2014/main" id="{42AB493B-2CA0-FDDE-4DDC-834ACD0C4C3E}"/>
              </a:ext>
            </a:extLst>
          </p:cNvPr>
          <p:cNvSpPr txBox="1"/>
          <p:nvPr/>
        </p:nvSpPr>
        <p:spPr>
          <a:xfrm>
            <a:off x="2126486" y="3908817"/>
            <a:ext cx="2025966" cy="1206036"/>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Business acumen</a:t>
            </a:r>
          </a:p>
          <a:p>
            <a:pPr marL="80650" indent="-80650">
              <a:lnSpc>
                <a:spcPts val="1633"/>
              </a:lnSpc>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Insight development</a:t>
            </a:r>
          </a:p>
          <a:p>
            <a:pPr marL="80650" indent="-80650">
              <a:lnSpc>
                <a:spcPts val="1633"/>
              </a:lnSpc>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AI solution design</a:t>
            </a:r>
          </a:p>
          <a:p>
            <a:pPr marL="80650" indent="-80650">
              <a:lnSpc>
                <a:spcPts val="1633"/>
              </a:lnSpc>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E2E process change</a:t>
            </a:r>
          </a:p>
          <a:p>
            <a:pPr marL="80650" indent="-80650">
              <a:lnSpc>
                <a:spcPts val="1633"/>
              </a:lnSpc>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Applying MVP &amp; scale principles</a:t>
            </a:r>
          </a:p>
          <a:p>
            <a:pPr marL="155539" indent="-155539">
              <a:lnSpc>
                <a:spcPts val="1633"/>
              </a:lnSpc>
              <a:buFont typeface="Arial" panose="020B0604020202020204" pitchFamily="34" charset="0"/>
              <a:buChar char="•"/>
            </a:pP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29" name="Tekstvak 28">
            <a:extLst>
              <a:ext uri="{FF2B5EF4-FFF2-40B4-BE49-F238E27FC236}">
                <a16:creationId xmlns:a16="http://schemas.microsoft.com/office/drawing/2014/main" id="{BB563DEF-A8C5-578A-8CDF-8E454A39F56D}"/>
              </a:ext>
            </a:extLst>
          </p:cNvPr>
          <p:cNvSpPr txBox="1"/>
          <p:nvPr/>
        </p:nvSpPr>
        <p:spPr>
          <a:xfrm>
            <a:off x="2126486" y="1632361"/>
            <a:ext cx="2025966" cy="795667"/>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Data wrangling</a:t>
            </a:r>
          </a:p>
          <a:p>
            <a:pPr marL="80650" indent="-80650">
              <a:lnSpc>
                <a:spcPts val="1633"/>
              </a:lnSpc>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AI knowledge – incl. </a:t>
            </a:r>
            <a:r>
              <a:rPr lang="en-US" dirty="0" err="1">
                <a:latin typeface="Arial" panose="020B0604020202020204" pitchFamily="34" charset="0"/>
                <a:cs typeface="Arial" panose="020B0604020202020204" pitchFamily="34" charset="0"/>
                <a:sym typeface="Arial" panose="020B0604020202020204" pitchFamily="34" charset="0"/>
              </a:rPr>
              <a:t>GenAI</a:t>
            </a:r>
            <a:endParaRPr lang="en-US" dirty="0">
              <a:latin typeface="Arial" panose="020B0604020202020204" pitchFamily="34" charset="0"/>
              <a:cs typeface="Arial" panose="020B0604020202020204" pitchFamily="34" charset="0"/>
              <a:sym typeface="Arial" panose="020B0604020202020204" pitchFamily="34" charset="0"/>
            </a:endParaRPr>
          </a:p>
          <a:p>
            <a:pPr marL="80650" indent="-80650">
              <a:lnSpc>
                <a:spcPts val="1633"/>
              </a:lnSpc>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Model design, development &amp; testing</a:t>
            </a:r>
          </a:p>
          <a:p>
            <a:pPr marL="80650" indent="-80650">
              <a:lnSpc>
                <a:spcPts val="1633"/>
              </a:lnSpc>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Model deployment &amp; monitoring</a:t>
            </a:r>
          </a:p>
        </p:txBody>
      </p:sp>
      <p:sp>
        <p:nvSpPr>
          <p:cNvPr id="30" name="Tekstvak 29">
            <a:extLst>
              <a:ext uri="{FF2B5EF4-FFF2-40B4-BE49-F238E27FC236}">
                <a16:creationId xmlns:a16="http://schemas.microsoft.com/office/drawing/2014/main" id="{10BCE7B4-33F2-1769-F47D-74800FB2A479}"/>
              </a:ext>
            </a:extLst>
          </p:cNvPr>
          <p:cNvSpPr txBox="1"/>
          <p:nvPr/>
        </p:nvSpPr>
        <p:spPr>
          <a:xfrm>
            <a:off x="2126486" y="2770589"/>
            <a:ext cx="2025966" cy="1000851"/>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GB" dirty="0">
                <a:latin typeface="Arial" panose="020B0604020202020204" pitchFamily="34" charset="0"/>
                <a:cs typeface="Arial" panose="020B0604020202020204" pitchFamily="34" charset="0"/>
                <a:sym typeface="Arial" panose="020B0604020202020204" pitchFamily="34" charset="0"/>
              </a:rPr>
              <a:t>Technical designing &amp; translation</a:t>
            </a:r>
          </a:p>
          <a:p>
            <a:pPr marL="80650" indent="-80650">
              <a:lnSpc>
                <a:spcPts val="1633"/>
              </a:lnSpc>
              <a:buFont typeface="Arial" panose="020B0604020202020204" pitchFamily="34" charset="0"/>
              <a:buChar char="•"/>
            </a:pPr>
            <a:r>
              <a:rPr lang="en-GB" dirty="0">
                <a:latin typeface="Arial" panose="020B0604020202020204" pitchFamily="34" charset="0"/>
                <a:cs typeface="Arial" panose="020B0604020202020204" pitchFamily="34" charset="0"/>
                <a:sym typeface="Arial" panose="020B0604020202020204" pitchFamily="34" charset="0"/>
              </a:rPr>
              <a:t>Developing</a:t>
            </a:r>
          </a:p>
          <a:p>
            <a:pPr marL="80650" indent="-80650">
              <a:lnSpc>
                <a:spcPts val="1633"/>
              </a:lnSpc>
              <a:buFont typeface="Arial" panose="020B0604020202020204" pitchFamily="34" charset="0"/>
              <a:buChar char="•"/>
            </a:pPr>
            <a:r>
              <a:rPr lang="en-GB" dirty="0">
                <a:latin typeface="Arial" panose="020B0604020202020204" pitchFamily="34" charset="0"/>
                <a:cs typeface="Arial" panose="020B0604020202020204" pitchFamily="34" charset="0"/>
                <a:sym typeface="Arial" panose="020B0604020202020204" pitchFamily="34" charset="0"/>
              </a:rPr>
              <a:t>Testing &amp; integrating</a:t>
            </a:r>
          </a:p>
          <a:p>
            <a:pPr marL="80650" indent="-80650">
              <a:lnSpc>
                <a:spcPts val="1633"/>
              </a:lnSpc>
              <a:buFont typeface="Arial" panose="020B0604020202020204" pitchFamily="34" charset="0"/>
              <a:buChar char="•"/>
            </a:pPr>
            <a:r>
              <a:rPr lang="en-GB" dirty="0">
                <a:latin typeface="Arial" panose="020B0604020202020204" pitchFamily="34" charset="0"/>
                <a:cs typeface="Arial" panose="020B0604020202020204" pitchFamily="34" charset="0"/>
                <a:sym typeface="Arial" panose="020B0604020202020204" pitchFamily="34" charset="0"/>
              </a:rPr>
              <a:t>Implementing &amp; deploying</a:t>
            </a:r>
          </a:p>
          <a:p>
            <a:pPr marL="80650" indent="-80650">
              <a:lnSpc>
                <a:spcPts val="1633"/>
              </a:lnSpc>
              <a:buFont typeface="Arial" panose="020B0604020202020204" pitchFamily="34" charset="0"/>
              <a:buChar char="•"/>
            </a:pPr>
            <a:r>
              <a:rPr lang="en-GB" dirty="0">
                <a:latin typeface="Arial" panose="020B0604020202020204" pitchFamily="34" charset="0"/>
                <a:cs typeface="Arial" panose="020B0604020202020204" pitchFamily="34" charset="0"/>
                <a:sym typeface="Arial" panose="020B0604020202020204" pitchFamily="34" charset="0"/>
              </a:rPr>
              <a:t>Operating, bug fixing &amp; maintaining</a:t>
            </a: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1" name="Tekstvak 30">
            <a:extLst>
              <a:ext uri="{FF2B5EF4-FFF2-40B4-BE49-F238E27FC236}">
                <a16:creationId xmlns:a16="http://schemas.microsoft.com/office/drawing/2014/main" id="{660408DC-C4BD-D16A-B429-80DA08926C13}"/>
              </a:ext>
            </a:extLst>
          </p:cNvPr>
          <p:cNvSpPr txBox="1"/>
          <p:nvPr/>
        </p:nvSpPr>
        <p:spPr>
          <a:xfrm>
            <a:off x="3714772" y="6306423"/>
            <a:ext cx="2025966" cy="829527"/>
          </a:xfrm>
          <a:prstGeom prst="rect">
            <a:avLst/>
          </a:prstGeom>
          <a:noFill/>
          <a:ln w="12700">
            <a:noFill/>
          </a:ln>
        </p:spPr>
        <p:txBody>
          <a:bodyPr wrap="square" lIns="0" tIns="0" rIns="0" bIns="0" rtlCol="0">
            <a:noAutofit/>
          </a:bodyPr>
          <a:lstStyle/>
          <a:p>
            <a:pPr marL="155539" indent="-155539">
              <a:lnSpc>
                <a:spcPts val="1633"/>
              </a:lnSpc>
              <a:buFont typeface="Arial" panose="020B0604020202020204" pitchFamily="34" charset="0"/>
              <a:buChar char="•"/>
            </a:pPr>
            <a:endParaRPr lang="en-US" sz="953" dirty="0">
              <a:latin typeface="Arial" panose="020B0604020202020204" pitchFamily="34" charset="0"/>
              <a:cs typeface="Arial" panose="020B0604020202020204" pitchFamily="34" charset="0"/>
              <a:sym typeface="Arial" panose="020B0604020202020204" pitchFamily="34" charset="0"/>
            </a:endParaRPr>
          </a:p>
        </p:txBody>
      </p:sp>
      <p:sp>
        <p:nvSpPr>
          <p:cNvPr id="36" name="Rectangle: Rounded Corners 11">
            <a:extLst>
              <a:ext uri="{FF2B5EF4-FFF2-40B4-BE49-F238E27FC236}">
                <a16:creationId xmlns:a16="http://schemas.microsoft.com/office/drawing/2014/main" id="{16ADADA3-F827-9623-10DB-0B37B8BE646A}"/>
              </a:ext>
            </a:extLst>
          </p:cNvPr>
          <p:cNvSpPr/>
          <p:nvPr/>
        </p:nvSpPr>
        <p:spPr>
          <a:xfrm>
            <a:off x="552451" y="5047044"/>
            <a:ext cx="1492250" cy="1056243"/>
          </a:xfrm>
          <a:prstGeom prst="roundRect">
            <a:avLst>
              <a:gd name="adj" fmla="val 0"/>
            </a:avLst>
          </a:prstGeom>
          <a:noFill/>
          <a:ln w="19050">
            <a:solidFill>
              <a:schemeClr val="accent3"/>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err="1">
                <a:latin typeface="Arial" panose="020B0604020202020204" pitchFamily="34" charset="0"/>
                <a:cs typeface="Arial" panose="020B0604020202020204" pitchFamily="34" charset="0"/>
                <a:sym typeface="Arial" panose="020B0604020202020204" pitchFamily="34" charset="0"/>
              </a:rPr>
              <a:t>DAIdactics</a:t>
            </a:r>
            <a:endParaRPr lang="en-US" sz="1200" b="1" dirty="0">
              <a:latin typeface="Arial" panose="020B0604020202020204" pitchFamily="34" charset="0"/>
              <a:cs typeface="Arial" panose="020B0604020202020204" pitchFamily="34" charset="0"/>
              <a:sym typeface="Arial" panose="020B0604020202020204" pitchFamily="34" charset="0"/>
            </a:endParaRPr>
          </a:p>
        </p:txBody>
      </p:sp>
      <p:sp>
        <p:nvSpPr>
          <p:cNvPr id="4" name="Tekstvak 3">
            <a:extLst>
              <a:ext uri="{FF2B5EF4-FFF2-40B4-BE49-F238E27FC236}">
                <a16:creationId xmlns:a16="http://schemas.microsoft.com/office/drawing/2014/main" id="{6156DE8B-F075-4BDA-DD5E-FD8D27A5BE77}"/>
              </a:ext>
            </a:extLst>
          </p:cNvPr>
          <p:cNvSpPr txBox="1"/>
          <p:nvPr/>
        </p:nvSpPr>
        <p:spPr>
          <a:xfrm>
            <a:off x="2126486" y="5047044"/>
            <a:ext cx="2025966" cy="795667"/>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GB" dirty="0">
                <a:latin typeface="Arial" panose="020B0604020202020204" pitchFamily="34" charset="0"/>
                <a:cs typeface="Arial" panose="020B0604020202020204" pitchFamily="34" charset="0"/>
                <a:sym typeface="Arial" panose="020B0604020202020204" pitchFamily="34" charset="0"/>
              </a:rPr>
              <a:t>Didactics: applying teaching principles</a:t>
            </a:r>
          </a:p>
          <a:p>
            <a:pPr marL="80650" indent="-80650">
              <a:lnSpc>
                <a:spcPts val="1633"/>
              </a:lnSpc>
              <a:buFont typeface="Arial" panose="020B0604020202020204" pitchFamily="34" charset="0"/>
              <a:buChar char="•"/>
            </a:pPr>
            <a:r>
              <a:rPr lang="en-GB" dirty="0">
                <a:latin typeface="Arial" panose="020B0604020202020204" pitchFamily="34" charset="0"/>
                <a:cs typeface="Arial" panose="020B0604020202020204" pitchFamily="34" charset="0"/>
                <a:sym typeface="Arial" panose="020B0604020202020204" pitchFamily="34" charset="0"/>
              </a:rPr>
              <a:t>Instructional design </a:t>
            </a:r>
          </a:p>
          <a:p>
            <a:pPr marL="80650" indent="-80650">
              <a:lnSpc>
                <a:spcPts val="1633"/>
              </a:lnSpc>
              <a:buFont typeface="Arial" panose="020B0604020202020204" pitchFamily="34" charset="0"/>
              <a:buChar char="•"/>
            </a:pPr>
            <a:r>
              <a:rPr lang="en-GB" dirty="0">
                <a:latin typeface="Arial" panose="020B0604020202020204" pitchFamily="34" charset="0"/>
                <a:cs typeface="Arial" panose="020B0604020202020204" pitchFamily="34" charset="0"/>
                <a:sym typeface="Arial" panose="020B0604020202020204" pitchFamily="34" charset="0"/>
              </a:rPr>
              <a:t>Training development</a:t>
            </a:r>
          </a:p>
          <a:p>
            <a:pPr marL="80650" indent="-80650">
              <a:lnSpc>
                <a:spcPts val="1633"/>
              </a:lnSpc>
              <a:buFont typeface="Arial" panose="020B0604020202020204" pitchFamily="34" charset="0"/>
              <a:buChar char="•"/>
            </a:pPr>
            <a:r>
              <a:rPr lang="en-GB" dirty="0">
                <a:latin typeface="Arial" panose="020B0604020202020204" pitchFamily="34" charset="0"/>
                <a:cs typeface="Arial" panose="020B0604020202020204" pitchFamily="34" charset="0"/>
                <a:sym typeface="Arial" panose="020B0604020202020204" pitchFamily="34" charset="0"/>
              </a:rPr>
              <a:t>Educational program design</a:t>
            </a:r>
          </a:p>
        </p:txBody>
      </p:sp>
      <p:cxnSp>
        <p:nvCxnSpPr>
          <p:cNvPr id="44" name="Straight Connector 11">
            <a:extLst>
              <a:ext uri="{FF2B5EF4-FFF2-40B4-BE49-F238E27FC236}">
                <a16:creationId xmlns:a16="http://schemas.microsoft.com/office/drawing/2014/main" id="{053E98E3-EE55-33F2-745C-C6C12DCEDB9A}"/>
              </a:ext>
            </a:extLst>
          </p:cNvPr>
          <p:cNvCxnSpPr>
            <a:cxnSpLocks/>
          </p:cNvCxnSpPr>
          <p:nvPr/>
        </p:nvCxnSpPr>
        <p:spPr>
          <a:xfrm>
            <a:off x="552450" y="1483197"/>
            <a:ext cx="3600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6" name="Tekstvak 28">
            <a:extLst>
              <a:ext uri="{FF2B5EF4-FFF2-40B4-BE49-F238E27FC236}">
                <a16:creationId xmlns:a16="http://schemas.microsoft.com/office/drawing/2014/main" id="{8ADB1B34-8FC4-E7A1-1C31-20BCFA7DB80F}"/>
              </a:ext>
            </a:extLst>
          </p:cNvPr>
          <p:cNvSpPr txBox="1"/>
          <p:nvPr/>
        </p:nvSpPr>
        <p:spPr>
          <a:xfrm>
            <a:off x="552450" y="1199720"/>
            <a:ext cx="3600000" cy="283477"/>
          </a:xfrm>
          <a:prstGeom prst="rect">
            <a:avLst/>
          </a:prstGeom>
          <a:noFill/>
          <a:ln w="12700">
            <a:noFill/>
          </a:ln>
        </p:spPr>
        <p:txBody>
          <a:bodyPr wrap="square" lIns="0" tIns="46800" rIns="0" bIns="46800" rtlCol="0" anchor="b">
            <a:spAutoFit/>
          </a:bodyPr>
          <a:lstStyle/>
          <a:p>
            <a:pPr algn="ctr">
              <a:lnSpc>
                <a:spcPts val="1633"/>
              </a:lnSpc>
            </a:pPr>
            <a:r>
              <a:rPr lang="en-US" sz="1200" b="1" dirty="0">
                <a:latin typeface="Arial" panose="020B0604020202020204" pitchFamily="34" charset="0"/>
                <a:cs typeface="Arial" panose="020B0604020202020204" pitchFamily="34" charset="0"/>
                <a:sym typeface="Arial" panose="020B0604020202020204" pitchFamily="34" charset="0"/>
              </a:rPr>
              <a:t>DATA &amp; AI CRAFT CAPABILITIES</a:t>
            </a:r>
          </a:p>
        </p:txBody>
      </p:sp>
      <p:sp>
        <p:nvSpPr>
          <p:cNvPr id="67" name="Rectangle: Rounded Corners 11">
            <a:extLst>
              <a:ext uri="{FF2B5EF4-FFF2-40B4-BE49-F238E27FC236}">
                <a16:creationId xmlns:a16="http://schemas.microsoft.com/office/drawing/2014/main" id="{986797EA-C249-B9F6-D23E-106ABA86286D}"/>
              </a:ext>
            </a:extLst>
          </p:cNvPr>
          <p:cNvSpPr/>
          <p:nvPr/>
        </p:nvSpPr>
        <p:spPr>
          <a:xfrm>
            <a:off x="4305361" y="3908817"/>
            <a:ext cx="1492250" cy="1056243"/>
          </a:xfrm>
          <a:prstGeom prst="roundRect">
            <a:avLst>
              <a:gd name="adj" fmla="val 0"/>
            </a:avLst>
          </a:prstGeom>
          <a:noFill/>
          <a:ln w="19050">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Delivery management</a:t>
            </a:r>
          </a:p>
        </p:txBody>
      </p:sp>
      <p:sp>
        <p:nvSpPr>
          <p:cNvPr id="68" name="Rectangle: Rounded Corners 11">
            <a:extLst>
              <a:ext uri="{FF2B5EF4-FFF2-40B4-BE49-F238E27FC236}">
                <a16:creationId xmlns:a16="http://schemas.microsoft.com/office/drawing/2014/main" id="{4351561D-040B-FC70-8917-8B41F615CC87}"/>
              </a:ext>
            </a:extLst>
          </p:cNvPr>
          <p:cNvSpPr/>
          <p:nvPr/>
        </p:nvSpPr>
        <p:spPr>
          <a:xfrm>
            <a:off x="4305361" y="1632361"/>
            <a:ext cx="1492250" cy="1056243"/>
          </a:xfrm>
          <a:prstGeom prst="roundRect">
            <a:avLst>
              <a:gd name="adj" fmla="val 0"/>
            </a:avLst>
          </a:prstGeom>
          <a:noFill/>
          <a:ln w="19050">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Effective communication</a:t>
            </a:r>
          </a:p>
        </p:txBody>
      </p:sp>
      <p:sp>
        <p:nvSpPr>
          <p:cNvPr id="69" name="Rectangle: Rounded Corners 11">
            <a:extLst>
              <a:ext uri="{FF2B5EF4-FFF2-40B4-BE49-F238E27FC236}">
                <a16:creationId xmlns:a16="http://schemas.microsoft.com/office/drawing/2014/main" id="{1C47EEE7-D40D-35EB-6F5E-569050F3A41D}"/>
              </a:ext>
            </a:extLst>
          </p:cNvPr>
          <p:cNvSpPr/>
          <p:nvPr/>
        </p:nvSpPr>
        <p:spPr>
          <a:xfrm>
            <a:off x="4305361" y="2770589"/>
            <a:ext cx="1492250" cy="1056243"/>
          </a:xfrm>
          <a:prstGeom prst="roundRect">
            <a:avLst>
              <a:gd name="adj" fmla="val 0"/>
            </a:avLst>
          </a:prstGeom>
          <a:noFill/>
          <a:ln w="19050">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Problem solving &amp; concepts</a:t>
            </a:r>
          </a:p>
        </p:txBody>
      </p:sp>
      <p:sp>
        <p:nvSpPr>
          <p:cNvPr id="70" name="Tekstvak 18">
            <a:extLst>
              <a:ext uri="{FF2B5EF4-FFF2-40B4-BE49-F238E27FC236}">
                <a16:creationId xmlns:a16="http://schemas.microsoft.com/office/drawing/2014/main" id="{2E50B948-F89C-7653-69AF-D24D3F60D8B4}"/>
              </a:ext>
            </a:extLst>
          </p:cNvPr>
          <p:cNvSpPr txBox="1"/>
          <p:nvPr/>
        </p:nvSpPr>
        <p:spPr>
          <a:xfrm>
            <a:off x="5879396" y="3908817"/>
            <a:ext cx="2025966" cy="795667"/>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Project and program management</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Impact creation</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Drive for excellence</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Proactivity and effective collaboration</a:t>
            </a:r>
          </a:p>
        </p:txBody>
      </p:sp>
      <p:sp>
        <p:nvSpPr>
          <p:cNvPr id="71" name="Tekstvak 28">
            <a:extLst>
              <a:ext uri="{FF2B5EF4-FFF2-40B4-BE49-F238E27FC236}">
                <a16:creationId xmlns:a16="http://schemas.microsoft.com/office/drawing/2014/main" id="{746CEC4D-7040-F3BC-C426-816F331D971F}"/>
              </a:ext>
            </a:extLst>
          </p:cNvPr>
          <p:cNvSpPr txBox="1"/>
          <p:nvPr/>
        </p:nvSpPr>
        <p:spPr>
          <a:xfrm>
            <a:off x="5879396" y="1632361"/>
            <a:ext cx="2025966" cy="1000851"/>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Clarity &amp; active listening and non-verbal communication</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Top-down story-telling</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Presentation skills</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Data analysis &amp; visualization </a:t>
            </a:r>
          </a:p>
        </p:txBody>
      </p:sp>
      <p:sp>
        <p:nvSpPr>
          <p:cNvPr id="72" name="Tekstvak 29">
            <a:extLst>
              <a:ext uri="{FF2B5EF4-FFF2-40B4-BE49-F238E27FC236}">
                <a16:creationId xmlns:a16="http://schemas.microsoft.com/office/drawing/2014/main" id="{ABC8BBED-C851-D366-0450-CBE3146569AC}"/>
              </a:ext>
            </a:extLst>
          </p:cNvPr>
          <p:cNvSpPr txBox="1"/>
          <p:nvPr/>
        </p:nvSpPr>
        <p:spPr>
          <a:xfrm>
            <a:off x="5879396" y="2770589"/>
            <a:ext cx="2025966" cy="795667"/>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Problem &amp; opportunity identification</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Structuring the problem</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Strategic thinking &amp; creating a vision </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Shaping programs</a:t>
            </a:r>
          </a:p>
        </p:txBody>
      </p:sp>
      <p:sp>
        <p:nvSpPr>
          <p:cNvPr id="73" name="Rectangle: Rounded Corners 11">
            <a:extLst>
              <a:ext uri="{FF2B5EF4-FFF2-40B4-BE49-F238E27FC236}">
                <a16:creationId xmlns:a16="http://schemas.microsoft.com/office/drawing/2014/main" id="{8B0FC771-FDA4-63D5-58F8-2F186B8DF836}"/>
              </a:ext>
            </a:extLst>
          </p:cNvPr>
          <p:cNvSpPr/>
          <p:nvPr/>
        </p:nvSpPr>
        <p:spPr>
          <a:xfrm>
            <a:off x="4305361" y="5047044"/>
            <a:ext cx="1492250" cy="1056243"/>
          </a:xfrm>
          <a:prstGeom prst="roundRect">
            <a:avLst>
              <a:gd name="adj" fmla="val 0"/>
            </a:avLst>
          </a:prstGeom>
          <a:noFill/>
          <a:ln w="19050">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Quality, risk &amp; compliance</a:t>
            </a:r>
          </a:p>
        </p:txBody>
      </p:sp>
      <p:sp>
        <p:nvSpPr>
          <p:cNvPr id="74" name="Tekstvak 3">
            <a:extLst>
              <a:ext uri="{FF2B5EF4-FFF2-40B4-BE49-F238E27FC236}">
                <a16:creationId xmlns:a16="http://schemas.microsoft.com/office/drawing/2014/main" id="{EA92E7F5-85DF-6242-CCEB-7F9B737A4AA5}"/>
              </a:ext>
            </a:extLst>
          </p:cNvPr>
          <p:cNvSpPr txBox="1"/>
          <p:nvPr/>
        </p:nvSpPr>
        <p:spPr>
          <a:xfrm>
            <a:off x="5879396" y="5047044"/>
            <a:ext cx="2025966" cy="795667"/>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Managing risk</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Delivery of quality</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Being compliant</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Ethical awareness</a:t>
            </a:r>
          </a:p>
        </p:txBody>
      </p:sp>
      <p:cxnSp>
        <p:nvCxnSpPr>
          <p:cNvPr id="75" name="Straight Connector 11">
            <a:extLst>
              <a:ext uri="{FF2B5EF4-FFF2-40B4-BE49-F238E27FC236}">
                <a16:creationId xmlns:a16="http://schemas.microsoft.com/office/drawing/2014/main" id="{019E7B4B-5B2A-A485-292C-9A2233AC7574}"/>
              </a:ext>
            </a:extLst>
          </p:cNvPr>
          <p:cNvCxnSpPr>
            <a:cxnSpLocks/>
          </p:cNvCxnSpPr>
          <p:nvPr/>
        </p:nvCxnSpPr>
        <p:spPr>
          <a:xfrm>
            <a:off x="4305360" y="1483197"/>
            <a:ext cx="360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6" name="Tekstvak 28">
            <a:extLst>
              <a:ext uri="{FF2B5EF4-FFF2-40B4-BE49-F238E27FC236}">
                <a16:creationId xmlns:a16="http://schemas.microsoft.com/office/drawing/2014/main" id="{39A7E37F-D723-9605-D043-39465FEF314F}"/>
              </a:ext>
            </a:extLst>
          </p:cNvPr>
          <p:cNvSpPr txBox="1"/>
          <p:nvPr/>
        </p:nvSpPr>
        <p:spPr>
          <a:xfrm>
            <a:off x="4305360" y="1204017"/>
            <a:ext cx="3600000" cy="279180"/>
          </a:xfrm>
          <a:prstGeom prst="rect">
            <a:avLst/>
          </a:prstGeom>
          <a:noFill/>
          <a:ln w="12700">
            <a:noFill/>
          </a:ln>
        </p:spPr>
        <p:txBody>
          <a:bodyPr wrap="square" lIns="0" tIns="46800" rIns="0" bIns="46800" rtlCol="0" anchor="b">
            <a:sp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PROFESSIONAL SERVICES COMPETENCIES</a:t>
            </a:r>
          </a:p>
        </p:txBody>
      </p:sp>
      <p:sp>
        <p:nvSpPr>
          <p:cNvPr id="79" name="Rectangle: Rounded Corners 11">
            <a:extLst>
              <a:ext uri="{FF2B5EF4-FFF2-40B4-BE49-F238E27FC236}">
                <a16:creationId xmlns:a16="http://schemas.microsoft.com/office/drawing/2014/main" id="{10A6A2EB-6CEA-26A9-6553-0A3F429EBD48}"/>
              </a:ext>
            </a:extLst>
          </p:cNvPr>
          <p:cNvSpPr/>
          <p:nvPr/>
        </p:nvSpPr>
        <p:spPr>
          <a:xfrm>
            <a:off x="8058271" y="3908817"/>
            <a:ext cx="1492250" cy="1056243"/>
          </a:xfrm>
          <a:prstGeom prst="roundRect">
            <a:avLst>
              <a:gd name="adj" fmla="val 0"/>
            </a:avLst>
          </a:prstGeom>
          <a:noFill/>
          <a:ln w="19050">
            <a:solidFill>
              <a:schemeClr val="accent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People leadership &amp; growth</a:t>
            </a:r>
          </a:p>
        </p:txBody>
      </p:sp>
      <p:sp>
        <p:nvSpPr>
          <p:cNvPr id="80" name="Rectangle: Rounded Corners 11">
            <a:extLst>
              <a:ext uri="{FF2B5EF4-FFF2-40B4-BE49-F238E27FC236}">
                <a16:creationId xmlns:a16="http://schemas.microsoft.com/office/drawing/2014/main" id="{10F7447E-0BE6-3915-F308-2D591871FE06}"/>
              </a:ext>
            </a:extLst>
          </p:cNvPr>
          <p:cNvSpPr/>
          <p:nvPr/>
        </p:nvSpPr>
        <p:spPr>
          <a:xfrm>
            <a:off x="8058271" y="1632361"/>
            <a:ext cx="1492250" cy="1056243"/>
          </a:xfrm>
          <a:prstGeom prst="roundRect">
            <a:avLst>
              <a:gd name="adj" fmla="val 0"/>
            </a:avLst>
          </a:prstGeom>
          <a:noFill/>
          <a:ln w="19050">
            <a:solidFill>
              <a:schemeClr val="accent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Client leadership</a:t>
            </a:r>
          </a:p>
        </p:txBody>
      </p:sp>
      <p:sp>
        <p:nvSpPr>
          <p:cNvPr id="81" name="Rectangle: Rounded Corners 11">
            <a:extLst>
              <a:ext uri="{FF2B5EF4-FFF2-40B4-BE49-F238E27FC236}">
                <a16:creationId xmlns:a16="http://schemas.microsoft.com/office/drawing/2014/main" id="{30DBD582-266E-9ED4-C2C5-A577CCFD2EF9}"/>
              </a:ext>
            </a:extLst>
          </p:cNvPr>
          <p:cNvSpPr/>
          <p:nvPr/>
        </p:nvSpPr>
        <p:spPr>
          <a:xfrm>
            <a:off x="8058271" y="2770589"/>
            <a:ext cx="1492250" cy="1056243"/>
          </a:xfrm>
          <a:prstGeom prst="roundRect">
            <a:avLst>
              <a:gd name="adj" fmla="val 0"/>
            </a:avLst>
          </a:prstGeom>
          <a:noFill/>
          <a:ln w="19050">
            <a:solidFill>
              <a:schemeClr val="accent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Personal leadership</a:t>
            </a:r>
          </a:p>
        </p:txBody>
      </p:sp>
      <p:sp>
        <p:nvSpPr>
          <p:cNvPr id="82" name="Tekstvak 18">
            <a:extLst>
              <a:ext uri="{FF2B5EF4-FFF2-40B4-BE49-F238E27FC236}">
                <a16:creationId xmlns:a16="http://schemas.microsoft.com/office/drawing/2014/main" id="{B76C94F5-F8F5-E09B-48D5-F98F892EBF5F}"/>
              </a:ext>
            </a:extLst>
          </p:cNvPr>
          <p:cNvSpPr txBox="1"/>
          <p:nvPr/>
        </p:nvSpPr>
        <p:spPr>
          <a:xfrm>
            <a:off x="9632306" y="3908817"/>
            <a:ext cx="2025966" cy="1000851"/>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High performance coaching/ mentoring &amp; giving effective feedback</a:t>
            </a:r>
          </a:p>
          <a:p>
            <a:pPr marL="87313" indent="-87313">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Creating a team environment</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Stimulate continuous learning</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Care for people</a:t>
            </a:r>
          </a:p>
        </p:txBody>
      </p:sp>
      <p:sp>
        <p:nvSpPr>
          <p:cNvPr id="83" name="Tekstvak 28">
            <a:extLst>
              <a:ext uri="{FF2B5EF4-FFF2-40B4-BE49-F238E27FC236}">
                <a16:creationId xmlns:a16="http://schemas.microsoft.com/office/drawing/2014/main" id="{92D39472-6725-F300-3378-7CC94D630526}"/>
              </a:ext>
            </a:extLst>
          </p:cNvPr>
          <p:cNvSpPr txBox="1"/>
          <p:nvPr/>
        </p:nvSpPr>
        <p:spPr>
          <a:xfrm>
            <a:off x="9632306" y="1632361"/>
            <a:ext cx="2025966" cy="1000851"/>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Showing commercial awareness</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Negotiation</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Stakeholder management – building trust</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Client engagement (new &amp; cont.)</a:t>
            </a:r>
          </a:p>
        </p:txBody>
      </p:sp>
      <p:sp>
        <p:nvSpPr>
          <p:cNvPr id="84" name="Tekstvak 29">
            <a:extLst>
              <a:ext uri="{FF2B5EF4-FFF2-40B4-BE49-F238E27FC236}">
                <a16:creationId xmlns:a16="http://schemas.microsoft.com/office/drawing/2014/main" id="{BB4A3511-5F37-B5EE-9D1F-C640A132DC01}"/>
              </a:ext>
            </a:extLst>
          </p:cNvPr>
          <p:cNvSpPr txBox="1"/>
          <p:nvPr/>
        </p:nvSpPr>
        <p:spPr>
          <a:xfrm>
            <a:off x="9632306" y="2770589"/>
            <a:ext cx="2025966" cy="1000851"/>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Learning attitude &amp; motivation</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Self-awareness &amp; setting goals</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Feedback) adaptability</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Continuous learning</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Empathy &amp; influencing</a:t>
            </a:r>
          </a:p>
        </p:txBody>
      </p:sp>
      <p:sp>
        <p:nvSpPr>
          <p:cNvPr id="85" name="Rectangle: Rounded Corners 11">
            <a:extLst>
              <a:ext uri="{FF2B5EF4-FFF2-40B4-BE49-F238E27FC236}">
                <a16:creationId xmlns:a16="http://schemas.microsoft.com/office/drawing/2014/main" id="{3EB439BE-5A8C-553B-CE75-149AF276DF0F}"/>
              </a:ext>
            </a:extLst>
          </p:cNvPr>
          <p:cNvSpPr/>
          <p:nvPr/>
        </p:nvSpPr>
        <p:spPr>
          <a:xfrm>
            <a:off x="8058271" y="5047044"/>
            <a:ext cx="1492250" cy="1056243"/>
          </a:xfrm>
          <a:prstGeom prst="roundRect">
            <a:avLst>
              <a:gd name="adj" fmla="val 0"/>
            </a:avLst>
          </a:prstGeom>
          <a:noFill/>
          <a:ln w="19050">
            <a:solidFill>
              <a:schemeClr val="accent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Rewire leadership</a:t>
            </a:r>
          </a:p>
        </p:txBody>
      </p:sp>
      <p:sp>
        <p:nvSpPr>
          <p:cNvPr id="86" name="Tekstvak 3">
            <a:extLst>
              <a:ext uri="{FF2B5EF4-FFF2-40B4-BE49-F238E27FC236}">
                <a16:creationId xmlns:a16="http://schemas.microsoft.com/office/drawing/2014/main" id="{974B9739-1053-FE29-1AF7-68320A14A03D}"/>
              </a:ext>
            </a:extLst>
          </p:cNvPr>
          <p:cNvSpPr txBox="1"/>
          <p:nvPr/>
        </p:nvSpPr>
        <p:spPr>
          <a:xfrm>
            <a:off x="9632306" y="5047044"/>
            <a:ext cx="2025966" cy="795667"/>
          </a:xfrm>
          <a:prstGeom prst="rect">
            <a:avLst/>
          </a:prstGeom>
          <a:noFill/>
          <a:ln w="12700">
            <a:noFill/>
          </a:ln>
        </p:spPr>
        <p:txBody>
          <a:bodyPr wrap="square" lIns="0" tIns="0" rIns="0" bIns="0" rtlCol="0">
            <a:spAutoFit/>
          </a:bodyPr>
          <a:lstStyle/>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Internal contribution to Rewire</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Hospitality</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Connection with team</a:t>
            </a:r>
          </a:p>
          <a:p>
            <a:pPr marL="80650" indent="-80650">
              <a:lnSpc>
                <a:spcPts val="1633"/>
              </a:lnSpc>
              <a:buFont typeface="Arial" panose="020B0604020202020204" pitchFamily="34" charset="0"/>
              <a:buChar char="•"/>
            </a:pPr>
            <a:r>
              <a:rPr lang="en-US" sz="900" dirty="0">
                <a:latin typeface="Arial" panose="020B0604020202020204" pitchFamily="34" charset="0"/>
                <a:cs typeface="Arial" panose="020B0604020202020204" pitchFamily="34" charset="0"/>
                <a:sym typeface="Arial" panose="020B0604020202020204" pitchFamily="34" charset="0"/>
              </a:rPr>
              <a:t>Inspiration</a:t>
            </a:r>
          </a:p>
        </p:txBody>
      </p:sp>
      <p:cxnSp>
        <p:nvCxnSpPr>
          <p:cNvPr id="87" name="Straight Connector 11">
            <a:extLst>
              <a:ext uri="{FF2B5EF4-FFF2-40B4-BE49-F238E27FC236}">
                <a16:creationId xmlns:a16="http://schemas.microsoft.com/office/drawing/2014/main" id="{A3793AE7-07FE-2763-D9A2-15208F950CBC}"/>
              </a:ext>
            </a:extLst>
          </p:cNvPr>
          <p:cNvCxnSpPr>
            <a:cxnSpLocks/>
          </p:cNvCxnSpPr>
          <p:nvPr/>
        </p:nvCxnSpPr>
        <p:spPr>
          <a:xfrm>
            <a:off x="8058270" y="1483197"/>
            <a:ext cx="3600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88" name="Tekstvak 28">
            <a:extLst>
              <a:ext uri="{FF2B5EF4-FFF2-40B4-BE49-F238E27FC236}">
                <a16:creationId xmlns:a16="http://schemas.microsoft.com/office/drawing/2014/main" id="{EDF5BC38-B299-92CF-0259-A31E5252407E}"/>
              </a:ext>
            </a:extLst>
          </p:cNvPr>
          <p:cNvSpPr txBox="1"/>
          <p:nvPr/>
        </p:nvSpPr>
        <p:spPr>
          <a:xfrm>
            <a:off x="8058270" y="1204017"/>
            <a:ext cx="3600000" cy="279180"/>
          </a:xfrm>
          <a:prstGeom prst="rect">
            <a:avLst/>
          </a:prstGeom>
          <a:noFill/>
          <a:ln w="12700">
            <a:noFill/>
          </a:ln>
        </p:spPr>
        <p:txBody>
          <a:bodyPr wrap="square" lIns="0" tIns="46800" rIns="0" bIns="46800" rtlCol="0" anchor="b">
            <a:spAutoFit/>
          </a:bodyPr>
          <a:lstStyle/>
          <a:p>
            <a:pPr algn="ctr"/>
            <a:r>
              <a:rPr lang="en-US" sz="1200" b="1" dirty="0">
                <a:latin typeface="Arial" panose="020B0604020202020204" pitchFamily="34" charset="0"/>
                <a:cs typeface="Arial" panose="020B0604020202020204" pitchFamily="34" charset="0"/>
                <a:sym typeface="Arial" panose="020B0604020202020204" pitchFamily="34" charset="0"/>
              </a:rPr>
              <a:t>LEADERSHIP COMPETENCIES</a:t>
            </a:r>
          </a:p>
        </p:txBody>
      </p:sp>
    </p:spTree>
    <p:extLst>
      <p:ext uri="{BB962C8B-B14F-4D97-AF65-F5344CB8AC3E}">
        <p14:creationId xmlns:p14="http://schemas.microsoft.com/office/powerpoint/2010/main" val="1925716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4066701145"/>
              </p:ext>
            </p:extLst>
          </p:nvPr>
        </p:nvGraphicFramePr>
        <p:xfrm>
          <a:off x="470844" y="684050"/>
          <a:ext cx="11149655" cy="6046080"/>
        </p:xfrm>
        <a:graphic>
          <a:graphicData uri="http://schemas.openxmlformats.org/drawingml/2006/table">
            <a:tbl>
              <a:tblPr firstRow="1" bandRow="1">
                <a:tableStyleId>{5C22544A-7EE6-4342-B048-85BDC9FD1C3A}</a:tableStyleId>
              </a:tblPr>
              <a:tblGrid>
                <a:gridCol w="2229931">
                  <a:extLst>
                    <a:ext uri="{9D8B030D-6E8A-4147-A177-3AD203B41FA5}">
                      <a16:colId xmlns:a16="http://schemas.microsoft.com/office/drawing/2014/main" val="2010582758"/>
                    </a:ext>
                  </a:extLst>
                </a:gridCol>
                <a:gridCol w="2229931">
                  <a:extLst>
                    <a:ext uri="{9D8B030D-6E8A-4147-A177-3AD203B41FA5}">
                      <a16:colId xmlns:a16="http://schemas.microsoft.com/office/drawing/2014/main" val="3881206508"/>
                    </a:ext>
                  </a:extLst>
                </a:gridCol>
                <a:gridCol w="2229931">
                  <a:extLst>
                    <a:ext uri="{9D8B030D-6E8A-4147-A177-3AD203B41FA5}">
                      <a16:colId xmlns:a16="http://schemas.microsoft.com/office/drawing/2014/main" val="2356519941"/>
                    </a:ext>
                  </a:extLst>
                </a:gridCol>
                <a:gridCol w="2229931">
                  <a:extLst>
                    <a:ext uri="{9D8B030D-6E8A-4147-A177-3AD203B41FA5}">
                      <a16:colId xmlns:a16="http://schemas.microsoft.com/office/drawing/2014/main" val="1209552632"/>
                    </a:ext>
                  </a:extLst>
                </a:gridCol>
                <a:gridCol w="2229931">
                  <a:extLst>
                    <a:ext uri="{9D8B030D-6E8A-4147-A177-3AD203B41FA5}">
                      <a16:colId xmlns:a16="http://schemas.microsoft.com/office/drawing/2014/main" val="1549531709"/>
                    </a:ext>
                  </a:extLst>
                </a:gridCol>
              </a:tblGrid>
              <a:tr h="579120">
                <a:tc>
                  <a:txBody>
                    <a:bodyPr/>
                    <a:lstStyle/>
                    <a:p>
                      <a:r>
                        <a:rPr lang="en-GB" sz="1600" dirty="0">
                          <a:solidFill>
                            <a:schemeClr val="tx1"/>
                          </a:solidFill>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sym typeface="Arial" panose="020B0604020202020204" pitchFamily="34" charset="0"/>
                        </a:rPr>
                        <a:t>Junior </a:t>
                      </a:r>
                      <a:endPar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sym typeface="Arial" panose="020B0604020202020204" pitchFamily="34" charset="0"/>
                        </a:rPr>
                        <a:t>Senior/Project Lead</a:t>
                      </a:r>
                      <a:endPar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sym typeface="Arial" panose="020B0604020202020204" pitchFamily="34" charset="0"/>
                        </a:rPr>
                        <a:t>Program manager</a:t>
                      </a:r>
                      <a:endPar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sym typeface="Arial" panose="020B0604020202020204" pitchFamily="34" charset="0"/>
                        </a:rPr>
                        <a:t>Principal</a:t>
                      </a:r>
                      <a:endPar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1015945"/>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kern="800" dirty="0">
                          <a:solidFill>
                            <a:schemeClr val="tx1"/>
                          </a:solidFill>
                          <a:effectLst/>
                          <a:sym typeface="Arial" panose="020B0604020202020204" pitchFamily="34" charset="0"/>
                        </a:rPr>
                        <a:t>Definition</a:t>
                      </a: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u="none" strike="noStrike">
                          <a:solidFill>
                            <a:schemeClr val="tx1"/>
                          </a:solidFill>
                          <a:effectLst/>
                          <a:sym typeface="Arial" panose="020B0604020202020204" pitchFamily="34" charset="0"/>
                        </a:rPr>
                        <a:t>Demonstrates curiosity and thoroughness in understanding the dataset</a:t>
                      </a:r>
                    </a:p>
                    <a:p>
                      <a:pPr marL="171450" indent="-171450" algn="l" fontAlgn="ctr">
                        <a:buFont typeface="Arial" panose="020B0604020202020204" pitchFamily="34" charset="0"/>
                        <a:buChar char="•"/>
                      </a:pPr>
                      <a:r>
                        <a:rPr lang="en-GB" sz="1000" b="1" u="none" strike="noStrike">
                          <a:solidFill>
                            <a:schemeClr val="tx1"/>
                          </a:solidFill>
                          <a:effectLst/>
                          <a:sym typeface="Arial" panose="020B0604020202020204" pitchFamily="34" charset="0"/>
                        </a:rPr>
                        <a:t>Proficient in using exploratory data analysis techniques to gain insights</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u="none" strike="noStrike">
                          <a:solidFill>
                            <a:schemeClr val="tx1"/>
                          </a:solidFill>
                          <a:effectLst/>
                          <a:sym typeface="Arial" panose="020B0604020202020204" pitchFamily="34" charset="0"/>
                        </a:rPr>
                        <a:t>Develops and implements strategic approaches for efficient and scalable data wrangling processes</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u="none" strike="noStrike" dirty="0">
                          <a:solidFill>
                            <a:schemeClr val="tx1"/>
                          </a:solidFill>
                          <a:effectLst/>
                          <a:sym typeface="Arial" panose="020B0604020202020204" pitchFamily="34" charset="0"/>
                        </a:rPr>
                        <a:t>Provides mentorship and guidance to junior data scientists on advanced data wrangling techniques and best practices.</a:t>
                      </a:r>
                    </a:p>
                    <a:p>
                      <a:pPr marL="171450" indent="-171450" algn="l" fontAlgn="ctr">
                        <a:buFont typeface="Arial" panose="020B0604020202020204" pitchFamily="34" charset="0"/>
                        <a:buChar char="•"/>
                      </a:pPr>
                      <a:r>
                        <a:rPr lang="en-GB" sz="1000" b="1" u="none" strike="noStrike" dirty="0">
                          <a:solidFill>
                            <a:schemeClr val="tx1"/>
                          </a:solidFill>
                          <a:effectLst/>
                          <a:sym typeface="Arial" panose="020B0604020202020204" pitchFamily="34" charset="0"/>
                        </a:rPr>
                        <a:t>Demonstrates leadership in driving data wrangling initiatives and fostering a collaborative team environment.</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386500"/>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kern="800" dirty="0">
                          <a:solidFill>
                            <a:schemeClr val="tx1"/>
                          </a:solidFill>
                          <a:effectLst/>
                          <a:sym typeface="Arial" panose="020B0604020202020204" pitchFamily="34" charset="0"/>
                        </a:rPr>
                        <a:t>Mastering programming</a:t>
                      </a:r>
                      <a:endPar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Masters key coding languages and DevOps best practices; and applies this within projects (e.g. R, Python, SQL, Git)</a:t>
                      </a:r>
                    </a:p>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Writes clean, efficient, and well-documented code</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Leads the team to enforce best practices and standards</a:t>
                      </a:r>
                    </a:p>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Proficient in advanced data manipulation techniques, including complex joins, aggregations, and window functions.</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02567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0" u="none" strike="noStrike" kern="800" dirty="0">
                        <a:solidFill>
                          <a:schemeClr val="tx1"/>
                        </a:solidFill>
                        <a:effectLst/>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dirty="0">
                          <a:solidFill>
                            <a:schemeClr val="tx1"/>
                          </a:solidFill>
                          <a:sym typeface="Arial" panose="020B0604020202020204" pitchFamily="34" charset="0"/>
                        </a:rPr>
                        <a:t>Data collection, cleaning &amp; preparation</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Identifies required data sources, and can integrate these and solve data quality issues</a:t>
                      </a:r>
                    </a:p>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Shows proficiency in cleaning and preprocessing data using appropriate techniques</a:t>
                      </a:r>
                    </a:p>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Is able to identify data anomalies, missing values, and outliers effectively.</a:t>
                      </a:r>
                    </a:p>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Pays close attention to detail when performing data wrangling tasks to ensure accuracy and reliability.</a:t>
                      </a:r>
                    </a:p>
                    <a:p>
                      <a:pPr marL="171450" indent="-171450" algn="l" fontAlgn="ctr">
                        <a:buFont typeface="Arial" panose="020B0604020202020204" pitchFamily="34" charset="0"/>
                        <a:buChar char="•"/>
                      </a:pP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Develops automated solutions for data cleaning and preprocessing tasks, leveraging techniques such as machine learning-based imputation and outlier detection.</a:t>
                      </a:r>
                    </a:p>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Implements data validation and quality checks to ensure the integrity of processed data.</a:t>
                      </a:r>
                      <a:br>
                        <a:rPr lang="en-GB" sz="1000" b="0" u="none" strike="noStrike" dirty="0">
                          <a:solidFill>
                            <a:schemeClr val="tx1"/>
                          </a:solidFill>
                          <a:effectLst/>
                          <a:sym typeface="Arial" panose="020B0604020202020204" pitchFamily="34" charset="0"/>
                        </a:rPr>
                      </a:b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0" u="none" strike="noStrike" dirty="0">
                          <a:solidFill>
                            <a:schemeClr val="tx1"/>
                          </a:solidFill>
                          <a:effectLst/>
                          <a:sym typeface="Arial" panose="020B0604020202020204" pitchFamily="34" charset="0"/>
                        </a:rPr>
                        <a:t>Identifies required data sources, and can integrate these and solve data quality issues</a:t>
                      </a:r>
                    </a:p>
                    <a:p>
                      <a:pPr marL="171450" indent="-171450" algn="l" fontAlgn="ctr">
                        <a:buFont typeface="Arial" panose="020B0604020202020204" pitchFamily="34" charset="0"/>
                        <a:buChar char="•"/>
                      </a:pPr>
                      <a:r>
                        <a:rPr lang="en-GB" sz="1000" b="0" u="none" strike="noStrike" dirty="0">
                          <a:solidFill>
                            <a:schemeClr val="tx1"/>
                          </a:solidFill>
                          <a:effectLst/>
                          <a:sym typeface="Arial" panose="020B0604020202020204" pitchFamily="34" charset="0"/>
                        </a:rPr>
                        <a:t>Translates design of algorithmic system into requirements for data management</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endParaRPr lang="en-GB" sz="1000" b="0" i="0" u="none" strike="noStrike" kern="1200" baseline="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135216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u="none" strike="noStrike" kern="800" dirty="0">
                          <a:solidFill>
                            <a:schemeClr val="tx1"/>
                          </a:solidFill>
                          <a:effectLst/>
                          <a:sym typeface="Arial" panose="020B0604020202020204" pitchFamily="34" charset="0"/>
                        </a:rPr>
                        <a:t>Creates impact from data</a:t>
                      </a: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lnSpc>
                          <a:spcPct val="100000"/>
                        </a:lnSpc>
                        <a:buFont typeface="Arial" panose="020B0604020202020204" pitchFamily="34" charset="0"/>
                        <a:buChar char="•"/>
                      </a:pPr>
                      <a:r>
                        <a:rPr lang="en-GB" sz="1000" b="0" u="none" strike="noStrike" kern="1200" dirty="0">
                          <a:solidFill>
                            <a:schemeClr val="tx1"/>
                          </a:solidFill>
                          <a:effectLst/>
                          <a:sym typeface="Arial" panose="020B0604020202020204" pitchFamily="34" charset="0"/>
                        </a:rPr>
                        <a:t>Capable of transforming raw data into a suitable format for analysis (e.g., reshaping data, feature engineering</a:t>
                      </a:r>
                      <a:endParaRPr lang="en-US" sz="1000" b="0" u="none" strike="noStrike" kern="1200" dirty="0">
                        <a:solidFill>
                          <a:schemeClr val="tx1"/>
                        </a:solidFill>
                        <a:effectLst/>
                        <a:sym typeface="Arial" panose="020B0604020202020204" pitchFamily="34" charset="0"/>
                      </a:endParaRPr>
                    </a:p>
                    <a:p>
                      <a:pPr marL="171450" indent="-171450" algn="l" defTabSz="1219170" rtl="0" eaLnBrk="1" fontAlgn="t" latinLnBrk="0" hangingPunct="1">
                        <a:lnSpc>
                          <a:spcPct val="100000"/>
                        </a:lnSpc>
                        <a:buFont typeface="Arial" panose="020B0604020202020204" pitchFamily="34" charset="0"/>
                        <a:buChar char="•"/>
                      </a:pPr>
                      <a:r>
                        <a:rPr lang="en-US" sz="1000" b="0" u="none" strike="noStrike" kern="1200" dirty="0">
                          <a:solidFill>
                            <a:schemeClr val="tx1"/>
                          </a:solidFill>
                          <a:effectLst/>
                          <a:sym typeface="Arial" panose="020B0604020202020204" pitchFamily="34" charset="0"/>
                        </a:rPr>
                        <a:t>Is able to represent data analysis and findings in a clear visual format that indicates trends and patterns</a:t>
                      </a: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US" sz="1000" b="0" u="none" strike="noStrike" kern="1200" dirty="0">
                          <a:solidFill>
                            <a:schemeClr val="tx1"/>
                          </a:solidFill>
                          <a:effectLst/>
                          <a:sym typeface="Arial" panose="020B0604020202020204" pitchFamily="34" charset="0"/>
                        </a:rPr>
                        <a:t>Employs design thinking to transform raw data into useful patterns and insights that enable challenging/supporting a premise through visualization techniques</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r>
                        <a:rPr lang="en-US" sz="1000" b="0" u="none" strike="noStrike" kern="1200" dirty="0">
                          <a:solidFill>
                            <a:schemeClr val="tx1"/>
                          </a:solidFill>
                          <a:effectLst/>
                          <a:sym typeface="Arial" panose="020B0604020202020204" pitchFamily="34" charset="0"/>
                        </a:rPr>
                        <a:t>Ideates and develops varied custom data visualization formats to challenge/support a premise based on thorough and compelling analysis</a:t>
                      </a:r>
                      <a:br>
                        <a:rPr lang="en-US" sz="1000" b="0" u="none" strike="noStrike" kern="1200" dirty="0">
                          <a:solidFill>
                            <a:schemeClr val="tx1"/>
                          </a:solidFill>
                          <a:effectLst/>
                          <a:sym typeface="Arial" panose="020B0604020202020204" pitchFamily="34" charset="0"/>
                        </a:rPr>
                      </a:br>
                      <a:r>
                        <a:rPr lang="en-US" sz="1000" b="0" u="none" strike="noStrike" kern="1200" dirty="0">
                          <a:solidFill>
                            <a:schemeClr val="tx1"/>
                          </a:solidFill>
                          <a:effectLst/>
                          <a:sym typeface="Arial" panose="020B0604020202020204" pitchFamily="34" charset="0"/>
                        </a:rPr>
                        <a:t>Supports team(s) to learn and enhance data visualization skills</a:t>
                      </a:r>
                      <a:br>
                        <a:rPr lang="en-US" sz="1000" b="0" u="none" strike="noStrike" kern="1200" dirty="0">
                          <a:solidFill>
                            <a:schemeClr val="tx1"/>
                          </a:solidFill>
                          <a:effectLst/>
                          <a:sym typeface="Arial" panose="020B0604020202020204" pitchFamily="34" charset="0"/>
                        </a:rPr>
                      </a:br>
                      <a:endPar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US" sz="1000" b="0" u="none" strike="noStrike" dirty="0">
                          <a:solidFill>
                            <a:schemeClr val="tx1"/>
                          </a:solidFill>
                          <a:effectLst/>
                          <a:sym typeface="Arial" panose="020B0604020202020204" pitchFamily="34" charset="0"/>
                        </a:rPr>
                        <a:t>Leverages data and analysis to challenge/support a premise</a:t>
                      </a:r>
                      <a:br>
                        <a:rPr lang="en-US" sz="1000" b="0" u="none" strike="noStrike" dirty="0">
                          <a:solidFill>
                            <a:schemeClr val="tx1"/>
                          </a:solidFill>
                          <a:effectLst/>
                          <a:sym typeface="Arial" panose="020B0604020202020204" pitchFamily="34" charset="0"/>
                        </a:rPr>
                      </a:br>
                      <a:r>
                        <a:rPr lang="en-US" sz="1000" b="0" u="none" strike="noStrike" dirty="0">
                          <a:solidFill>
                            <a:schemeClr val="tx1"/>
                          </a:solidFill>
                          <a:effectLst/>
                          <a:sym typeface="Arial" panose="020B0604020202020204" pitchFamily="34" charset="0"/>
                        </a:rPr>
                        <a:t>Proactively identifies new tools and innovative approaches for data design and visualization</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3096074"/>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a:solidFill>
                  <a:schemeClr val="accent1">
                    <a:lumMod val="50000"/>
                  </a:schemeClr>
                </a:solidFill>
              </a:rPr>
              <a:t>Data Science|</a:t>
            </a:r>
            <a:r>
              <a:rPr lang="en-US" sz="2903" dirty="0">
                <a:solidFill>
                  <a:schemeClr val="accent1"/>
                </a:solidFill>
              </a:rPr>
              <a:t> </a:t>
            </a:r>
            <a:r>
              <a:rPr lang="nl-NL" sz="2903" dirty="0">
                <a:solidFill>
                  <a:schemeClr val="tx1"/>
                </a:solidFill>
                <a:ea typeface="Roboto Light" panose="02000000000000000000" pitchFamily="2" charset="0"/>
              </a:rPr>
              <a:t>Data </a:t>
            </a:r>
            <a:r>
              <a:rPr lang="nl-NL" sz="2903" dirty="0" err="1">
                <a:solidFill>
                  <a:schemeClr val="tx1"/>
                </a:solidFill>
                <a:ea typeface="Roboto Light" panose="02000000000000000000" pitchFamily="2" charset="0"/>
              </a:rPr>
              <a:t>wrangling</a:t>
            </a:r>
            <a:r>
              <a:rPr lang="nl-NL" sz="2903" dirty="0">
                <a:solidFill>
                  <a:schemeClr val="tx1"/>
                </a:solidFill>
                <a:ea typeface="Roboto Light" panose="02000000000000000000" pitchFamily="2" charset="0"/>
              </a:rPr>
              <a:t> </a:t>
            </a:r>
            <a:r>
              <a:rPr lang="nl-NL" sz="2903" b="0" i="1" dirty="0">
                <a:solidFill>
                  <a:schemeClr val="tx1"/>
                </a:solidFill>
                <a:ea typeface="Roboto Light" panose="02000000000000000000" pitchFamily="2" charset="0"/>
              </a:rPr>
              <a:t>– </a:t>
            </a:r>
            <a:r>
              <a:rPr lang="nl-NL" sz="2903" b="0" i="1" dirty="0" err="1">
                <a:solidFill>
                  <a:schemeClr val="tx1"/>
                </a:solidFill>
                <a:ea typeface="Roboto Light" panose="02000000000000000000" pitchFamily="2" charset="0"/>
              </a:rPr>
              <a:t>behavioral</a:t>
            </a:r>
            <a:r>
              <a:rPr lang="nl-NL" sz="2903" b="0" i="1" dirty="0">
                <a:solidFill>
                  <a:schemeClr val="tx1"/>
                </a:solidFill>
                <a:ea typeface="Roboto Light" panose="02000000000000000000" pitchFamily="2" charset="0"/>
              </a:rPr>
              <a:t> </a:t>
            </a:r>
            <a:r>
              <a:rPr lang="nl-NL" sz="2903" b="0" i="1" dirty="0" err="1">
                <a:solidFill>
                  <a:schemeClr val="tx1"/>
                </a:solidFill>
                <a:ea typeface="Roboto Light" panose="02000000000000000000" pitchFamily="2" charset="0"/>
              </a:rPr>
              <a:t>anchors</a:t>
            </a:r>
            <a:endParaRPr lang="en-US" sz="2903" b="0" i="1" dirty="0">
              <a:solidFill>
                <a:schemeClr val="accent4"/>
              </a:solidFill>
            </a:endParaRPr>
          </a:p>
        </p:txBody>
      </p:sp>
    </p:spTree>
    <p:extLst>
      <p:ext uri="{BB962C8B-B14F-4D97-AF65-F5344CB8AC3E}">
        <p14:creationId xmlns:p14="http://schemas.microsoft.com/office/powerpoint/2010/main" val="42738173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2042683952"/>
              </p:ext>
            </p:extLst>
          </p:nvPr>
        </p:nvGraphicFramePr>
        <p:xfrm>
          <a:off x="470844" y="657154"/>
          <a:ext cx="11252197" cy="6048446"/>
        </p:xfrm>
        <a:graphic>
          <a:graphicData uri="http://schemas.openxmlformats.org/drawingml/2006/table">
            <a:tbl>
              <a:tblPr firstRow="1" bandRow="1">
                <a:tableStyleId>{5C22544A-7EE6-4342-B048-85BDC9FD1C3A}</a:tableStyleId>
              </a:tblPr>
              <a:tblGrid>
                <a:gridCol w="2169081">
                  <a:extLst>
                    <a:ext uri="{9D8B030D-6E8A-4147-A177-3AD203B41FA5}">
                      <a16:colId xmlns:a16="http://schemas.microsoft.com/office/drawing/2014/main" val="2010582758"/>
                    </a:ext>
                  </a:extLst>
                </a:gridCol>
                <a:gridCol w="3540270">
                  <a:extLst>
                    <a:ext uri="{9D8B030D-6E8A-4147-A177-3AD203B41FA5}">
                      <a16:colId xmlns:a16="http://schemas.microsoft.com/office/drawing/2014/main" val="3881206508"/>
                    </a:ext>
                  </a:extLst>
                </a:gridCol>
                <a:gridCol w="3281030">
                  <a:extLst>
                    <a:ext uri="{9D8B030D-6E8A-4147-A177-3AD203B41FA5}">
                      <a16:colId xmlns:a16="http://schemas.microsoft.com/office/drawing/2014/main" val="2356519941"/>
                    </a:ext>
                  </a:extLst>
                </a:gridCol>
                <a:gridCol w="1130908">
                  <a:extLst>
                    <a:ext uri="{9D8B030D-6E8A-4147-A177-3AD203B41FA5}">
                      <a16:colId xmlns:a16="http://schemas.microsoft.com/office/drawing/2014/main" val="1209552632"/>
                    </a:ext>
                  </a:extLst>
                </a:gridCol>
                <a:gridCol w="1130908">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1015945"/>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fini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the needed knowledge in (Gen(AI to build, explore and evaluate models and algorithms</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a deep understanding of advanced model and optimization techniques, transfer learning</a:t>
                      </a:r>
                    </a:p>
                    <a:p>
                      <a:pPr marL="171450" indent="-171450" algn="l" fontAlgn="ctr">
                        <a:buFont typeface="Arial" panose="020B0604020202020204" pitchFamily="34" charset="0"/>
                        <a:buChar char="•"/>
                      </a:pPr>
                      <a:r>
                        <a:rPr lang="en-GB" sz="1000" b="1"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Create informative features, leverage domain knowledge, and optimize feature engineering processes to enhance model performance and interpretability.</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171450" indent="-171450" algn="l" fontAlgn="ctr">
                        <a:buFont typeface="Arial" panose="020B0604020202020204" pitchFamily="34" charset="0"/>
                        <a:buChar char="•"/>
                      </a:pPr>
                      <a:r>
                        <a:rPr lang="en-GB" sz="1000" b="1"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Is known as a thought leader in the expertise area</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1450" indent="-171450" algn="l" fontAlgn="ctr">
                        <a:buFont typeface="Arial" panose="020B0604020202020204" pitchFamily="34" charset="0"/>
                        <a:buChar char="•"/>
                      </a:pPr>
                      <a:endParaRPr lang="en-GB" sz="1000" b="0" i="0" u="none" strike="noStrike" dirty="0">
                        <a:solidFill>
                          <a:srgbClr val="292929"/>
                        </a:solidFill>
                        <a:effectLst/>
                        <a:latin typeface="Calibri" panose="020F0502020204030204" pitchFamily="34" charset="0"/>
                      </a:endParaRPr>
                    </a:p>
                  </a:txBody>
                  <a:tcPr marL="3600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40386500"/>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Understanding Algorithms and models</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comprehension of fundamental machine learning algorithms (supervised vs unsupervised) such as regression, classification, clustering, and dimensionality reduction.</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Possesses in-depth knowledge and experience with advanced AI algorithms and techniques, including deep learning, neural networks, convolutional neural networks (CNNs), and recurrent neural networks (RNNs).</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gridSpan="2">
                  <a:txBody>
                    <a:bodyPr/>
                    <a:lstStyle/>
                    <a:p>
                      <a:pPr marL="171450" indent="-82550" algn="l" fontAlgn="ctr">
                        <a:buFont typeface="Arial" panose="020B0604020202020204" pitchFamily="34" charset="0"/>
                        <a:buChar char="•"/>
                      </a:pPr>
                      <a:endParaRPr lang="en-US" sz="1000" b="0" i="0" u="none" strike="noStrike" baseline="0"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p>
                      <a:pPr marL="171450" indent="-82550" algn="l" fontAlgn="ctr">
                        <a:buFont typeface="Arial" panose="020B0604020202020204" pitchFamily="34" charset="0"/>
                        <a:buChar char="•"/>
                      </a:pPr>
                      <a:r>
                        <a:rPr lang="en-US" sz="1000" b="0" i="0" u="none" strike="noStrike" baseline="0" dirty="0">
                          <a:solidFill>
                            <a:schemeClr val="tx1"/>
                          </a:solidFill>
                          <a:effectLst/>
                          <a:latin typeface="Arial" panose="020B0604020202020204" pitchFamily="34" charset="0"/>
                          <a:cs typeface="Arial" panose="020B0604020202020204" pitchFamily="34" charset="0"/>
                          <a:sym typeface="Arial" panose="020B0604020202020204" pitchFamily="34" charset="0"/>
                        </a:rPr>
                        <a:t>Has a specific AA expertise that is acknowledged internally </a:t>
                      </a:r>
                    </a:p>
                    <a:p>
                      <a:pPr marL="171450" indent="-82550" algn="l" fontAlgn="ctr">
                        <a:buFont typeface="Arial" panose="020B0604020202020204" pitchFamily="34" charset="0"/>
                        <a:buChar char="•"/>
                      </a:pPr>
                      <a:r>
                        <a:rPr lang="en-US" sz="1000" b="0" i="0" u="none" strike="noStrike" baseline="0" dirty="0">
                          <a:solidFill>
                            <a:schemeClr val="tx1"/>
                          </a:solidFill>
                          <a:effectLst/>
                          <a:latin typeface="Arial" panose="020B0604020202020204" pitchFamily="34" charset="0"/>
                          <a:cs typeface="Arial" panose="020B0604020202020204" pitchFamily="34" charset="0"/>
                          <a:sym typeface="Arial" panose="020B0604020202020204" pitchFamily="34" charset="0"/>
                        </a:rPr>
                        <a:t>Has a specific AA expertise that is acknowledged internally and externally (sparring partner for clients)</a:t>
                      </a:r>
                    </a:p>
                    <a:p>
                      <a:pPr marL="171450" indent="-82550" algn="l" fontAlgn="ctr">
                        <a:buFont typeface="Arial" panose="020B0604020202020204" pitchFamily="34" charset="0"/>
                        <a:buChar char="•"/>
                      </a:pPr>
                      <a:r>
                        <a:rPr lang="en-US" sz="1000" b="0" i="0" u="none" strike="noStrike" baseline="0" dirty="0">
                          <a:solidFill>
                            <a:schemeClr val="tx1"/>
                          </a:solidFill>
                          <a:effectLst/>
                          <a:latin typeface="Arial" panose="020B0604020202020204" pitchFamily="34" charset="0"/>
                          <a:cs typeface="Arial" panose="020B0604020202020204" pitchFamily="34" charset="0"/>
                          <a:sym typeface="Arial" panose="020B0604020202020204" pitchFamily="34" charset="0"/>
                        </a:rPr>
                        <a:t>Creates exciting case stories, PR and GAIn modules on own topic of expertise</a:t>
                      </a:r>
                    </a:p>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Steers development of ML&amp;S badges within GAIn around </a:t>
                      </a:r>
                      <a:r>
                        <a:rPr lang="en-GB" sz="1000" b="0" i="0" u="none" strike="noStrike" dirty="0" err="1">
                          <a:solidFill>
                            <a:schemeClr val="tx1"/>
                          </a:solidFill>
                          <a:effectLst/>
                          <a:latin typeface="Arial" panose="020B0604020202020204" pitchFamily="34" charset="0"/>
                          <a:cs typeface="Arial" panose="020B0604020202020204" pitchFamily="34" charset="0"/>
                          <a:sym typeface="Arial" panose="020B0604020202020204" pitchFamily="34" charset="0"/>
                        </a:rPr>
                        <a:t>inovation</a:t>
                      </a: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 new badges, make-overs</a:t>
                      </a:r>
                    </a:p>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Builds a perspective on the market around own expertise as basis for USP (e.g. standard solutions/software, potential partners, competition)</a:t>
                      </a:r>
                    </a:p>
                    <a:p>
                      <a:pPr marL="171450" indent="-825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Has a specific AA expertise that is acknowledged internally </a:t>
                      </a:r>
                    </a:p>
                    <a:p>
                      <a:pPr marL="171450" indent="-171450" algn="l" fontAlgn="ctr">
                        <a:buFont typeface="Arial" panose="020B0604020202020204" pitchFamily="34" charset="0"/>
                        <a:buChar char="•"/>
                      </a:pPr>
                      <a:endParaRPr lang="en-US" sz="1000" b="0" i="0" u="none" strike="noStrike" baseline="0"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hMerge="1">
                  <a:txBody>
                    <a:bodyPr/>
                    <a:lstStyle/>
                    <a:p>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11145990"/>
                  </a:ext>
                </a:extLst>
              </a:tr>
              <a:tr h="102567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0"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panose="020B0604020202020204" pitchFamily="34" charset="0"/>
                          <a:cs typeface="Arial" panose="020B0604020202020204" pitchFamily="34" charset="0"/>
                          <a:sym typeface="Arial" panose="020B0604020202020204" pitchFamily="34" charset="0"/>
                        </a:rPr>
                        <a:t>Model Exploration, and Metrics</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 Proficient in exploratory data &amp; model analysis techniques to gain insights from datasets, such as statistical summaries, data visualization, and correlation analysis.</a:t>
                      </a:r>
                    </a:p>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Understands common evaluation metrics used in machine learning, such as accuracy, precision, recall, F1-score, and area under the ROC curve (ROC-AUC).</a:t>
                      </a:r>
                    </a:p>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Capable of interpreting and explaining complex AI models, understanding feature importance, and employing techniques like SHAP values or LIME to explain model predictions.</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Familiarity with optimization algorithms and techniques used in training deep learning models, such as stochastic gradient descent (SGD), Adam, and learning rate scheduling.</a:t>
                      </a:r>
                    </a:p>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Proficient in hyperparameter tuning and model optimization techniques to improve model performance and generalization, including grid search, random search, and Bayesian optimization.</a:t>
                      </a:r>
                    </a:p>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Understands transfer learning concepts and techniques for leveraging pre-trained models and transferring knowledge from one domain to another to accelerate model development</a:t>
                      </a:r>
                      <a:b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b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vMerge="1">
                  <a:txBody>
                    <a:bodyPr/>
                    <a:lstStyle/>
                    <a:p>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hMerge="1" vMerge="1">
                  <a:txBody>
                    <a:bodyPr/>
                    <a:lstStyle/>
                    <a:p>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5416550"/>
                  </a:ext>
                </a:extLst>
              </a:tr>
              <a:tr h="135216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err="1">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GenAI</a:t>
                      </a: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defTabSz="1219170" rtl="0" eaLnBrk="1" fontAlgn="t" latinLnBrk="0" hangingPunct="1">
                        <a:lnSpc>
                          <a:spcPct val="100000"/>
                        </a:lnSpc>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monstrates a basic understanding of generative models and their applications in creating synthetic data, generating images, or producing text.</a:t>
                      </a:r>
                    </a:p>
                    <a:p>
                      <a:pPr marL="171450" indent="-171450" algn="l" defTabSz="1219170" rtl="0" eaLnBrk="1" fontAlgn="t" latinLnBrk="0" hangingPunct="1">
                        <a:lnSpc>
                          <a:spcPct val="100000"/>
                        </a:lnSpc>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Shows familiarity with basic generative models such as Variational Autoencoders (VAEs) or Generative Adversarial Networks (GANs) and their components.</a:t>
                      </a:r>
                    </a:p>
                    <a:p>
                      <a:pPr marL="171450" indent="-171450" algn="l" defTabSz="1219170" rtl="0" eaLnBrk="1" fontAlgn="t" latinLnBrk="0" hangingPunct="1">
                        <a:lnSpc>
                          <a:spcPct val="100000"/>
                        </a:lnSpc>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Familiarity with evaluation metrics and techniques specific to generative models, such as Inception Score, </a:t>
                      </a:r>
                      <a:r>
                        <a:rPr lang="en-GB" sz="1000" b="0" i="0" u="none" strike="noStrike" kern="1200" dirty="0" err="1">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Frechet</a:t>
                      </a: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Inception Distance (FID), or perceptual similarity metrics</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lnSpc>
                          <a:spcPct val="100000"/>
                        </a:lnSpc>
                        <a:spcAft>
                          <a:spcPts val="600"/>
                        </a:spcAft>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ossesses in-depth knowledge and experience with advanced generative models such as Deep Convolutional GANs (DCGANs), Conditional GANs, or Transformer-based models like GPT (Generative Pre-trained Transformer).</a:t>
                      </a:r>
                    </a:p>
                    <a:p>
                      <a:pPr marL="171450" indent="-171450" algn="l" rtl="0" fontAlgn="t">
                        <a:lnSpc>
                          <a:spcPct val="100000"/>
                        </a:lnSpc>
                        <a:spcAft>
                          <a:spcPts val="600"/>
                        </a:spcAft>
                        <a:buFont typeface="Arial" panose="020B0604020202020204" pitchFamily="34" charset="0"/>
                        <a:buChar char="•"/>
                      </a:pPr>
                      <a:r>
                        <a:rPr lang="en-GB"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Proficient in optimization techniques specific to generative models, such as training stability, mode collapse mitigation, or techniques for improving sample diversity.</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vMerge="1">
                  <a:txBody>
                    <a:bodyPr/>
                    <a:lstStyle/>
                    <a:p>
                      <a:pPr marL="171450" marR="0" lvl="0" indent="-171450" algn="l" defTabSz="1219170" rtl="0" eaLnBrk="1" fontAlgn="t" latinLnBrk="0" hangingPunct="1">
                        <a:lnSpc>
                          <a:spcPct val="100000"/>
                        </a:lnSpc>
                        <a:spcBef>
                          <a:spcPts val="0"/>
                        </a:spcBef>
                        <a:spcAft>
                          <a:spcPts val="600"/>
                        </a:spcAft>
                        <a:buClrTx/>
                        <a:buSzTx/>
                        <a:buFont typeface="Arial" panose="020B0604020202020204" pitchFamily="34" charset="0"/>
                        <a:buChar char="•"/>
                        <a:tabLst/>
                        <a:defRPr/>
                      </a:pPr>
                      <a:endParaRPr lang="en-GB" sz="1000" b="0" i="0" u="none" strike="noStrike" kern="1200" dirty="0">
                        <a:solidFill>
                          <a:schemeClr val="tx1"/>
                        </a:solidFill>
                        <a:effectLst/>
                        <a:latin typeface="+mn-lt"/>
                        <a:ea typeface="+mn-ea"/>
                        <a:cs typeface="+mn-cs"/>
                      </a:endParaRPr>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hMerge="1" vMerge="1">
                  <a:txBody>
                    <a:bodyPr/>
                    <a:lstStyle/>
                    <a:p>
                      <a:pPr marL="171450" indent="-171450" algn="l" rtl="0" fontAlgn="t">
                        <a:lnSpc>
                          <a:spcPct val="100000"/>
                        </a:lnSpc>
                        <a:spcAft>
                          <a:spcPts val="600"/>
                        </a:spcAft>
                        <a:buFont typeface="Arial" panose="020B0604020202020204" pitchFamily="34" charset="0"/>
                        <a:buChar char="•"/>
                      </a:pPr>
                      <a:endParaRPr lang="en-GB" sz="1000" b="0" i="0" u="none" strike="noStrike" dirty="0">
                        <a:solidFill>
                          <a:schemeClr val="tx1"/>
                        </a:solidFill>
                        <a:effectLst/>
                        <a:latin typeface="+mn-lt"/>
                      </a:endParaRPr>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3096074"/>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a:solidFill>
                  <a:schemeClr val="accent1">
                    <a:lumMod val="50000"/>
                  </a:schemeClr>
                </a:solidFill>
              </a:rPr>
              <a:t>Data Science|</a:t>
            </a:r>
            <a:r>
              <a:rPr lang="en-US" sz="2903" dirty="0">
                <a:solidFill>
                  <a:schemeClr val="accent1"/>
                </a:solidFill>
              </a:rPr>
              <a:t> </a:t>
            </a:r>
            <a:r>
              <a:rPr lang="nl-NL" sz="2903" dirty="0">
                <a:solidFill>
                  <a:schemeClr val="tx1"/>
                </a:solidFill>
                <a:ea typeface="Roboto Light" panose="02000000000000000000" pitchFamily="2" charset="0"/>
              </a:rPr>
              <a:t>AI/ML </a:t>
            </a:r>
            <a:r>
              <a:rPr lang="nl-NL" sz="2903" dirty="0" err="1">
                <a:solidFill>
                  <a:schemeClr val="tx1"/>
                </a:solidFill>
                <a:ea typeface="Roboto Light" panose="02000000000000000000" pitchFamily="2" charset="0"/>
              </a:rPr>
              <a:t>knowledge</a:t>
            </a:r>
            <a:r>
              <a:rPr lang="nl-NL" sz="2903" dirty="0">
                <a:solidFill>
                  <a:schemeClr val="tx1"/>
                </a:solidFill>
                <a:ea typeface="Roboto Light" panose="02000000000000000000" pitchFamily="2" charset="0"/>
              </a:rPr>
              <a:t> incl. </a:t>
            </a:r>
            <a:r>
              <a:rPr lang="nl-NL" sz="2903" dirty="0" err="1">
                <a:solidFill>
                  <a:schemeClr val="tx1"/>
                </a:solidFill>
                <a:ea typeface="Roboto Light" panose="02000000000000000000" pitchFamily="2" charset="0"/>
              </a:rPr>
              <a:t>GenAI</a:t>
            </a:r>
            <a:r>
              <a:rPr lang="nl-NL" sz="2903" b="0" i="1" dirty="0">
                <a:solidFill>
                  <a:schemeClr val="tx1"/>
                </a:solidFill>
                <a:ea typeface="Roboto Light" panose="02000000000000000000" pitchFamily="2" charset="0"/>
              </a:rPr>
              <a:t>– </a:t>
            </a:r>
            <a:r>
              <a:rPr lang="nl-NL" sz="2903" b="0" i="1" dirty="0" err="1">
                <a:solidFill>
                  <a:schemeClr val="tx1"/>
                </a:solidFill>
                <a:ea typeface="Roboto Light" panose="02000000000000000000" pitchFamily="2" charset="0"/>
              </a:rPr>
              <a:t>behavioral</a:t>
            </a:r>
            <a:r>
              <a:rPr lang="nl-NL" sz="2903" b="0" i="1" dirty="0">
                <a:solidFill>
                  <a:schemeClr val="tx1"/>
                </a:solidFill>
                <a:ea typeface="Roboto Light" panose="02000000000000000000" pitchFamily="2" charset="0"/>
              </a:rPr>
              <a:t> </a:t>
            </a:r>
            <a:r>
              <a:rPr lang="nl-NL" sz="2903" b="0" i="1" dirty="0" err="1">
                <a:solidFill>
                  <a:schemeClr val="tx1"/>
                </a:solidFill>
                <a:ea typeface="Roboto Light" panose="02000000000000000000" pitchFamily="2" charset="0"/>
              </a:rPr>
              <a:t>anchors</a:t>
            </a:r>
            <a:endParaRPr lang="en-US" sz="2903" b="0" i="1" dirty="0">
              <a:solidFill>
                <a:schemeClr val="accent4"/>
              </a:solidFill>
            </a:endParaRPr>
          </a:p>
        </p:txBody>
      </p:sp>
    </p:spTree>
    <p:extLst>
      <p:ext uri="{BB962C8B-B14F-4D97-AF65-F5344CB8AC3E}">
        <p14:creationId xmlns:p14="http://schemas.microsoft.com/office/powerpoint/2010/main" val="242416625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3B617-30C8-EC51-BD1D-479027BE112B}"/>
              </a:ext>
            </a:extLst>
          </p:cNvPr>
          <p:cNvGraphicFramePr>
            <a:graphicFrameLocks noChangeAspect="1"/>
          </p:cNvGraphicFramePr>
          <p:nvPr>
            <p:custDataLst>
              <p:tags r:id="rId1"/>
            </p:custDataLst>
            <p:extLst>
              <p:ext uri="{D42A27DB-BD31-4B8C-83A1-F6EECF244321}">
                <p14:modId xmlns:p14="http://schemas.microsoft.com/office/powerpoint/2010/main" val="4211799190"/>
              </p:ext>
            </p:extLst>
          </p:nvPr>
        </p:nvGraphicFramePr>
        <p:xfrm>
          <a:off x="2075" y="1441"/>
          <a:ext cx="1441" cy="144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think-cell data - do not delete" hidden="1">
                        <a:extLst>
                          <a:ext uri="{FF2B5EF4-FFF2-40B4-BE49-F238E27FC236}">
                            <a16:creationId xmlns:a16="http://schemas.microsoft.com/office/drawing/2014/main" id="{E003B617-30C8-EC51-BD1D-479027BE112B}"/>
                          </a:ext>
                        </a:extLst>
                      </p:cNvPr>
                      <p:cNvPicPr/>
                      <p:nvPr/>
                    </p:nvPicPr>
                    <p:blipFill>
                      <a:blip r:embed="rId5"/>
                      <a:stretch>
                        <a:fillRect/>
                      </a:stretch>
                    </p:blipFill>
                    <p:spPr>
                      <a:xfrm>
                        <a:off x="2075" y="1441"/>
                        <a:ext cx="1441" cy="1441"/>
                      </a:xfrm>
                      <a:prstGeom prst="rect">
                        <a:avLst/>
                      </a:prstGeom>
                    </p:spPr>
                  </p:pic>
                </p:oleObj>
              </mc:Fallback>
            </mc:AlternateContent>
          </a:graphicData>
        </a:graphic>
      </p:graphicFrame>
      <p:graphicFrame>
        <p:nvGraphicFramePr>
          <p:cNvPr id="7" name="Table 7">
            <a:extLst>
              <a:ext uri="{FF2B5EF4-FFF2-40B4-BE49-F238E27FC236}">
                <a16:creationId xmlns:a16="http://schemas.microsoft.com/office/drawing/2014/main" id="{D81C0AA1-DB0E-4856-8845-4E5CBF59B909}"/>
              </a:ext>
            </a:extLst>
          </p:cNvPr>
          <p:cNvGraphicFramePr>
            <a:graphicFrameLocks noGrp="1"/>
          </p:cNvGraphicFramePr>
          <p:nvPr>
            <p:ph idx="1"/>
            <p:extLst>
              <p:ext uri="{D42A27DB-BD31-4B8C-83A1-F6EECF244321}">
                <p14:modId xmlns:p14="http://schemas.microsoft.com/office/powerpoint/2010/main" val="2046906097"/>
              </p:ext>
            </p:extLst>
          </p:nvPr>
        </p:nvGraphicFramePr>
        <p:xfrm>
          <a:off x="470547" y="670281"/>
          <a:ext cx="11252495" cy="6187719"/>
        </p:xfrm>
        <a:graphic>
          <a:graphicData uri="http://schemas.openxmlformats.org/drawingml/2006/table">
            <a:tbl>
              <a:tblPr firstRow="1" bandRow="1">
                <a:tableStyleId>{5C22544A-7EE6-4342-B048-85BDC9FD1C3A}</a:tableStyleId>
              </a:tblPr>
              <a:tblGrid>
                <a:gridCol w="2250499">
                  <a:extLst>
                    <a:ext uri="{9D8B030D-6E8A-4147-A177-3AD203B41FA5}">
                      <a16:colId xmlns:a16="http://schemas.microsoft.com/office/drawing/2014/main" val="2010582758"/>
                    </a:ext>
                  </a:extLst>
                </a:gridCol>
                <a:gridCol w="2250499">
                  <a:extLst>
                    <a:ext uri="{9D8B030D-6E8A-4147-A177-3AD203B41FA5}">
                      <a16:colId xmlns:a16="http://schemas.microsoft.com/office/drawing/2014/main" val="3881206508"/>
                    </a:ext>
                  </a:extLst>
                </a:gridCol>
                <a:gridCol w="2250499">
                  <a:extLst>
                    <a:ext uri="{9D8B030D-6E8A-4147-A177-3AD203B41FA5}">
                      <a16:colId xmlns:a16="http://schemas.microsoft.com/office/drawing/2014/main" val="2356519941"/>
                    </a:ext>
                  </a:extLst>
                </a:gridCol>
                <a:gridCol w="2250499">
                  <a:extLst>
                    <a:ext uri="{9D8B030D-6E8A-4147-A177-3AD203B41FA5}">
                      <a16:colId xmlns:a16="http://schemas.microsoft.com/office/drawing/2014/main" val="1209552632"/>
                    </a:ext>
                  </a:extLst>
                </a:gridCol>
                <a:gridCol w="2250499">
                  <a:extLst>
                    <a:ext uri="{9D8B030D-6E8A-4147-A177-3AD203B41FA5}">
                      <a16:colId xmlns:a16="http://schemas.microsoft.com/office/drawing/2014/main" val="1549531709"/>
                    </a:ext>
                  </a:extLst>
                </a:gridCol>
              </a:tblGrid>
              <a:tr h="579120">
                <a:tc>
                  <a:txBody>
                    <a:bodyPr/>
                    <a:lstStyle/>
                    <a:p>
                      <a:r>
                        <a:rPr lang="en-GB" sz="1600" dirty="0">
                          <a:solidFill>
                            <a:schemeClr val="tx1"/>
                          </a:solidFill>
                          <a:latin typeface="Arial" panose="020B0604020202020204" pitchFamily="34" charset="0"/>
                          <a:cs typeface="Arial" panose="020B0604020202020204" pitchFamily="34" charset="0"/>
                          <a:sym typeface="Arial" panose="020B0604020202020204" pitchFamily="34" charset="0"/>
                        </a:rPr>
                        <a:t>Delivering value</a:t>
                      </a:r>
                      <a:endParaRPr lang="en-US" sz="16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Junior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Senior/Project Lea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400" b="1" dirty="0">
                          <a:solidFill>
                            <a:schemeClr val="tx1"/>
                          </a:solidFill>
                          <a:latin typeface="Arial" panose="020B0604020202020204" pitchFamily="34" charset="0"/>
                          <a:cs typeface="Arial" panose="020B0604020202020204" pitchFamily="34" charset="0"/>
                          <a:sym typeface="Arial" panose="020B0604020202020204" pitchFamily="34" charset="0"/>
                        </a:rPr>
                        <a:t>Program manage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Principal</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1015945"/>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Defini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35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Shows expertise in the model design, interpretability and build phase. Is expert in AI/ML-techniques and provides input for the  feature engineering process</a:t>
                      </a:r>
                    </a:p>
                    <a:p>
                      <a:pPr marL="171450" indent="-171450" algn="l" fontAlgn="ctr">
                        <a:buFont typeface="Arial" panose="020B0604020202020204" pitchFamily="34" charset="0"/>
                        <a:buChar char="•"/>
                      </a:pP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Helps the data scientists in setting up best practise models and leads the hypothesis and problem solving process </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1"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Creates the requirements to build an impactful model by the team and keeps focus on the commercial relevance of the model</a:t>
                      </a:r>
                      <a:endParaRPr lang="en-GB" sz="1000" b="1"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50537504"/>
                  </a:ext>
                </a:extLst>
              </a:tr>
              <a:tr h="9015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Mastering the AI revolutio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Shows a deep understanding of ML/AI algorithms and models incl. GenAI </a:t>
                      </a:r>
                    </a:p>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eagerness for new sources of information and innovations relevant within the project</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eagerness for new sources of information and AA innovations relevant within the project</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termines key priorities for Rewire and how innovations can be used to create value for (new) clients</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eagerness for new sources of information and AA innovations; uses innovations to improve or expand Rewire’s (AA) services</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114599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reates impact from models</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Formulates good hypotheses for model development based on link to business context &amp; relevance</a:t>
                      </a:r>
                    </a:p>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Builds  strong ML model (with support), taking key model optimization and validation elements into account</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Leads discussions with the business on hypothesis setting</a:t>
                      </a:r>
                    </a:p>
                    <a:p>
                      <a:pPr marL="171450" indent="-171450" algn="l" rtl="0" fontAlgn="t">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Applies various techniques to create state of the art models and is creative in coming up with new approaches</a:t>
                      </a:r>
                    </a:p>
                    <a:p>
                      <a:pPr marL="171450" indent="-171450" algn="l" rtl="0" fontAlgn="t">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Leads the process for model selection and input data selection</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Leads  the team to develop innovative and robust models</a:t>
                      </a:r>
                    </a:p>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Focus on a POC/MVP product with a scaling ambition in mind</a:t>
                      </a:r>
                    </a:p>
                    <a:p>
                      <a:pPr marL="171450" indent="-171450" algn="l" fontAlgn="ctr">
                        <a:buFont typeface="Arial" panose="020B0604020202020204" pitchFamily="34" charset="0"/>
                        <a:buChar char="•"/>
                      </a:pP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endParaRPr lang="en-GB" sz="1000" b="0" i="0" u="none" strike="noStrike" kern="1200" baseline="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5416550"/>
                  </a:ext>
                </a:extLst>
              </a:tr>
              <a:tr h="1192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Feature engineering expertise</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basic proficiency in feature engineering techniques, such as creating new features, encoding categorical variables, and scaling numerical features.</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expertise in feature engineering, including the creation of derived features and transformation of raw data into informative features.</a:t>
                      </a:r>
                    </a:p>
                    <a:p>
                      <a:pPr marL="171450" indent="-171450" algn="l" rtl="0" fontAlgn="t">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Utilizes domain knowledge to engineer meaningful features that enhance model performance.</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monstrates the ability to strategically select and engineer features that are relevant to the problem domain and predictive modeling tasks (more conceptually)  using an iterative problem solving</a:t>
                      </a:r>
                    </a:p>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Continuously checks the commercial the commercial relevance of the features (from a client perspective)</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rtl="0" fontAlgn="t">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NA</a:t>
                      </a:r>
                      <a:endParaRPr lang="en-GB" sz="1000" b="0" i="0" u="none" strike="noStrike" kern="1200" baseline="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7845293"/>
                  </a:ext>
                </a:extLst>
              </a:tr>
              <a:tr h="81219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i="0" u="none" strike="noStrike" kern="8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lgorithmic Systems design</a:t>
                      </a:r>
                    </a:p>
                  </a:txBody>
                  <a:tcPr marL="108000" marT="144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Understands the relation between different models and what the implications are for specific algorithm development</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Details the algorithmic system; </a:t>
                      </a:r>
                    </a:p>
                    <a:p>
                      <a:pPr marL="171450" indent="-171450" algn="l" fontAlgn="ctr">
                        <a:buFont typeface="Arial" panose="020B0604020202020204" pitchFamily="34" charset="0"/>
                        <a:buChar char="•"/>
                      </a:pPr>
                      <a:r>
                        <a:rPr lang="en-GB" sz="1000" b="0" i="0" u="none" strike="noStrike">
                          <a:solidFill>
                            <a:schemeClr val="tx1"/>
                          </a:solidFill>
                          <a:effectLst/>
                          <a:latin typeface="Arial" panose="020B0604020202020204" pitchFamily="34" charset="0"/>
                          <a:cs typeface="Arial" panose="020B0604020202020204" pitchFamily="34" charset="0"/>
                          <a:sym typeface="Arial" panose="020B0604020202020204" pitchFamily="34" charset="0"/>
                        </a:rPr>
                        <a:t>Translates a business question to an analysis or modelling approach</a:t>
                      </a:r>
                      <a:endPar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endParaRP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Leads the design of the algorithmic system: Is able to independently translate a business question to an analysis or modelling approach</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gn="l" fontAlgn="ctr">
                        <a:buFont typeface="Arial" panose="020B0604020202020204" pitchFamily="34" charset="0"/>
                        <a:buChar char="•"/>
                      </a:pPr>
                      <a:r>
                        <a:rPr lang="en-GB" sz="1000" b="0" i="0" u="none" strike="noStrike" dirty="0">
                          <a:solidFill>
                            <a:schemeClr val="tx1"/>
                          </a:solidFill>
                          <a:effectLst/>
                          <a:latin typeface="Arial" panose="020B0604020202020204" pitchFamily="34" charset="0"/>
                          <a:cs typeface="Arial" panose="020B0604020202020204" pitchFamily="34" charset="0"/>
                          <a:sym typeface="Arial" panose="020B0604020202020204" pitchFamily="34" charset="0"/>
                        </a:rPr>
                        <a:t>Leads the team in the design and development of Advanced Algorithmic Systems; and enables the business change required to create impact with the AAS</a:t>
                      </a:r>
                    </a:p>
                  </a:txBody>
                  <a:tcPr marL="3600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3096074"/>
                  </a:ext>
                </a:extLst>
              </a:tr>
            </a:tbl>
          </a:graphicData>
        </a:graphic>
      </p:graphicFrame>
      <p:sp>
        <p:nvSpPr>
          <p:cNvPr id="8" name="Titel 7">
            <a:extLst>
              <a:ext uri="{FF2B5EF4-FFF2-40B4-BE49-F238E27FC236}">
                <a16:creationId xmlns:a16="http://schemas.microsoft.com/office/drawing/2014/main" id="{037EF278-9934-E9E2-BB7F-295732104FF8}"/>
              </a:ext>
            </a:extLst>
          </p:cNvPr>
          <p:cNvSpPr>
            <a:spLocks noGrp="1"/>
          </p:cNvSpPr>
          <p:nvPr>
            <p:ph type="title"/>
          </p:nvPr>
        </p:nvSpPr>
        <p:spPr>
          <a:xfrm>
            <a:off x="470547" y="127870"/>
            <a:ext cx="11252495" cy="338328"/>
          </a:xfrm>
        </p:spPr>
        <p:txBody>
          <a:bodyPr vert="horz"/>
          <a:lstStyle/>
          <a:p>
            <a:r>
              <a:rPr lang="en-US" sz="2903" dirty="0">
                <a:solidFill>
                  <a:schemeClr val="accent1">
                    <a:lumMod val="50000"/>
                  </a:schemeClr>
                </a:solidFill>
                <a:latin typeface="Arial" panose="020B0604020202020204" pitchFamily="34" charset="0"/>
                <a:cs typeface="Arial" panose="020B0604020202020204" pitchFamily="34" charset="0"/>
                <a:sym typeface="Arial" panose="020B0604020202020204" pitchFamily="34" charset="0"/>
              </a:rPr>
              <a:t>Data science| </a:t>
            </a:r>
            <a:r>
              <a:rPr lang="nl-NL" sz="2903" dirty="0">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Model design &amp; development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behavioral</a:t>
            </a:r>
            <a:r>
              <a:rPr lang="nl-NL" sz="2903" b="0" i="1" dirty="0">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 </a:t>
            </a:r>
            <a:r>
              <a:rPr lang="nl-NL" sz="2903" b="0" i="1" dirty="0" err="1">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t>anchors</a:t>
            </a:r>
            <a:br>
              <a:rPr lang="nl-NL" sz="2903" dirty="0">
                <a:solidFill>
                  <a:schemeClr val="tx1"/>
                </a:solidFill>
                <a:latin typeface="Arial" panose="020B0604020202020204" pitchFamily="34" charset="0"/>
                <a:ea typeface="Roboto Light" panose="02000000000000000000" pitchFamily="2" charset="0"/>
                <a:cs typeface="Arial" panose="020B0604020202020204" pitchFamily="34" charset="0"/>
                <a:sym typeface="Arial" panose="020B0604020202020204" pitchFamily="34" charset="0"/>
              </a:rPr>
            </a:br>
            <a:endParaRPr lang="en-US" sz="2903"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3472665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7daf5d21-e194-4a8e-a891-d180a9489874"/>
  <p:tag name="THINKCELLPRESENTATIONDONOTDELETE" val="&lt;?xml version=&quot;1.0&quot; encoding=&quot;UTF-16&quot; standalone=&quot;yes&quot;?&gt;&lt;root reqver=&quot;28224&quot;&gt;&lt;version val=&quot;353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0&quot;&gt;&lt;elem m_fUsage=&quot;1.24659000000000008690E+00&quot;&gt;&lt;m_msothmcolidx val=&quot;0&quot;/&gt;&lt;m_rgb r=&quot;99&quot; g=&quot;F3&quot; b=&quot;CB&quot;/&gt;&lt;/elem&gt;&lt;elem m_fUsage=&quot;1.00000000000000000000E+00&quot;&gt;&lt;m_msothmcolidx val=&quot;0&quot;/&gt;&lt;m_rgb r=&quot;FF&quot; g=&quot;AE&quot; b=&quot;C7&quot;/&gt;&lt;/elem&gt;&lt;elem m_fUsage=&quot;9.08764110000000013834E-01&quot;&gt;&lt;m_msothmcolidx val=&quot;0&quot;/&gt;&lt;m_rgb r=&quot;97&quot; g=&quot;77&quot; b=&quot;FF&quot;/&gt;&lt;/elem&gt;&lt;elem m_fUsage=&quot;9.00000000000000022204E-01&quot;&gt;&lt;m_msothmcolidx val=&quot;0&quot;/&gt;&lt;m_rgb r=&quot;D1&quot; g=&quot;F7&quot; b=&quot;F7&quot;/&gt;&lt;/elem&gt;&lt;elem m_fUsage=&quot;8.10000000000000053291E-01&quot;&gt;&lt;m_msothmcolidx val=&quot;0&quot;/&gt;&lt;m_rgb r=&quot;12&quot; g=&quot;67&quot; b=&quot;67&quot;/&gt;&lt;/elem&gt;&lt;elem m_fUsage=&quot;7.29000000000000092371E-01&quot;&gt;&lt;m_msothmcolidx val=&quot;0&quot;/&gt;&lt;m_rgb r=&quot;DE&quot; g=&quot;CE&quot; b=&quot;F0&quot;/&gt;&lt;/elem&gt;&lt;elem m_fUsage=&quot;5.31441000000000163261E-01&quot;&gt;&lt;m_msothmcolidx val=&quot;0&quot;/&gt;&lt;m_rgb r=&quot;4D&quot; g=&quot;EA&quot; b=&quot;A4&quot;/&gt;&lt;/elem&gt;&lt;elem m_fUsage=&quot;3.87420489000000145552E-01&quot;&gt;&lt;m_msothmcolidx val=&quot;0&quot;/&gt;&lt;m_rgb r=&quot;FF&quot; g=&quot;99&quot; b=&quot;B9&quot;/&gt;&lt;/elem&gt;&lt;elem m_fUsage=&quot;3.48678440100000153201E-01&quot;&gt;&lt;m_msothmcolidx val=&quot;0&quot;/&gt;&lt;m_rgb r=&quot;FF&quot; g=&quot;4D&quot; b=&quot;84&quot;/&gt;&lt;/elem&gt;&lt;elem m_fUsage=&quot;3.13810596090000171188E-01&quot;&gt;&lt;m_msothmcolidx val=&quot;0&quot;/&gt;&lt;m_rgb r=&quot;31&quot; g=&quot;C6&quot; b=&quot;46&quot;/&gt;&lt;/elem&gt;&lt;elem m_fUsage=&quot;2.82429536481000165171E-01&quot;&gt;&lt;m_msothmcolidx val=&quot;0&quot;/&gt;&lt;m_rgb r=&quot;40&quot; g=&quot;E2&quot; b=&quot;56&quot;/&gt;&lt;/elem&gt;&lt;elem m_fUsage=&quot;2.54186582832900132001E-01&quot;&gt;&lt;m_msothmcolidx val=&quot;0&quot;/&gt;&lt;m_rgb r=&quot;41&quot; g=&quot;AF&quot; b=&quot;67&quot;/&gt;&lt;/elem&gt;&lt;elem m_fUsage=&quot;2.28767924549610118801E-01&quot;&gt;&lt;m_msothmcolidx val=&quot;0&quot;/&gt;&lt;m_rgb r=&quot;6D&quot; g=&quot;6D&quot; b=&quot;6D&quot;/&gt;&lt;/elem&gt;&lt;elem m_fUsage=&quot;2.05891132094649098594E-01&quot;&gt;&lt;m_msothmcolidx val=&quot;0&quot;/&gt;&lt;m_rgb r=&quot;20&quot; g=&quot;20&quot; b=&quot;20&quot;/&gt;&lt;/elem&gt;&lt;elem m_fUsage=&quot;1.85302018885184188735E-01&quot;&gt;&lt;m_msothmcolidx val=&quot;0&quot;/&gt;&lt;m_rgb r=&quot;A1&quot; g=&quot;31&quot; b=&quot;71&quot;/&gt;&lt;/elem&gt;&lt;elem m_fUsage=&quot;1.66771816996665767086E-01&quot;&gt;&lt;m_msothmcolidx val=&quot;0&quot;/&gt;&lt;m_rgb r=&quot;EF&quot; g=&quot;81&quot; b=&quot;B4&quot;/&gt;&lt;/elem&gt;&lt;elem m_fUsage=&quot;1.50094635296999207030E-01&quot;&gt;&lt;m_msothmcolidx val=&quot;0&quot;/&gt;&lt;m_rgb r=&quot;DD&quot; g=&quot;B2&quot; b=&quot;F5&quot;/&gt;&lt;/elem&gt;&lt;elem m_fUsage=&quot;1.35085171767299283552E-01&quot;&gt;&lt;m_msothmcolidx val=&quot;0&quot;/&gt;&lt;m_rgb r=&quot;6F&quot; g=&quot;A6&quot; b=&quot;ED&quot;/&gt;&lt;/elem&gt;&lt;elem m_fUsage=&quot;1.21576654590569363523E-01&quot;&gt;&lt;m_msothmcolidx val=&quot;0&quot;/&gt;&lt;m_rgb r=&quot;95&quot; g=&quot;44&quot; b=&quot;DF&quot;/&gt;&lt;/elem&gt;&lt;elem m_fUsage=&quot;1.09418989131512434110E-01&quot;&gt;&lt;m_msothmcolidx val=&quot;0&quot;/&gt;&lt;m_rgb r=&quot;9D&quot; g=&quot;43&quot; b=&quot;D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G8UJQ4hST2kjFdLLFXO3Q"/>
</p:tagLst>
</file>

<file path=ppt/tags/tag54.xml><?xml version="1.0" encoding="utf-8"?>
<p:tagLst xmlns:a="http://schemas.openxmlformats.org/drawingml/2006/main" xmlns:r="http://schemas.openxmlformats.org/officeDocument/2006/relationships" xmlns:p="http://schemas.openxmlformats.org/presentationml/2006/main">
  <p:tag name="EE4P_SLIDE_SIZ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wire_Light">
  <a:themeElements>
    <a:clrScheme name="Custom 6">
      <a:dk1>
        <a:srgbClr val="000000"/>
      </a:dk1>
      <a:lt1>
        <a:srgbClr val="FFFFFF"/>
      </a:lt1>
      <a:dk2>
        <a:srgbClr val="323232"/>
      </a:dk2>
      <a:lt2>
        <a:srgbClr val="E0E0E0"/>
      </a:lt2>
      <a:accent1>
        <a:srgbClr val="24CECE"/>
      </a:accent1>
      <a:accent2>
        <a:srgbClr val="76E7E7"/>
      </a:accent2>
      <a:accent3>
        <a:srgbClr val="A3EFEF"/>
      </a:accent3>
      <a:accent4>
        <a:srgbClr val="FF0050"/>
      </a:accent4>
      <a:accent5>
        <a:srgbClr val="FF6596"/>
      </a:accent5>
      <a:accent6>
        <a:srgbClr val="6B3CFF"/>
      </a:accent6>
      <a:hlink>
        <a:srgbClr val="FFD300"/>
      </a:hlink>
      <a:folHlink>
        <a:srgbClr val="00FF9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Rewire PPT Template_New Brand_MASTERFILE" id="{F5CFBF1A-8467-5548-9A4E-5AC30D273FAF}" vid="{E96E0C16-8989-0646-B82D-1D392A26B6D5}"/>
    </a:ext>
  </a:extLst>
</a:theme>
</file>

<file path=ppt/theme/theme2.xml><?xml version="1.0" encoding="utf-8"?>
<a:theme xmlns:a="http://schemas.openxmlformats.org/drawingml/2006/main" name="1_Rewire_Light">
  <a:themeElements>
    <a:clrScheme name="RewireGAIN">
      <a:dk1>
        <a:srgbClr val="000000"/>
      </a:dk1>
      <a:lt1>
        <a:srgbClr val="FFFFFF"/>
      </a:lt1>
      <a:dk2>
        <a:srgbClr val="323232"/>
      </a:dk2>
      <a:lt2>
        <a:srgbClr val="E0E0E0"/>
      </a:lt2>
      <a:accent1>
        <a:srgbClr val="6B3CFF"/>
      </a:accent1>
      <a:accent2>
        <a:srgbClr val="000000"/>
      </a:accent2>
      <a:accent3>
        <a:srgbClr val="00E07D"/>
      </a:accent3>
      <a:accent4>
        <a:srgbClr val="FF004F"/>
      </a:accent4>
      <a:accent5>
        <a:srgbClr val="24CECE"/>
      </a:accent5>
      <a:accent6>
        <a:srgbClr val="FFD300"/>
      </a:accent6>
      <a:hlink>
        <a:srgbClr val="6B3CFF"/>
      </a:hlink>
      <a:folHlink>
        <a:srgbClr val="3810A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Rewire PPT Template_New Brand_MASTERFILE" id="{F5CFBF1A-8467-5548-9A4E-5AC30D273FAF}" vid="{E96E0C16-8989-0646-B82D-1D392A26B6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634d67e-7303-47d0-905b-1c79c4bf7717" xsi:nil="true"/>
    <lcf76f155ced4ddcb4097134ff3c332f xmlns="0da4ce52-7ec4-49c2-974c-01d69868c42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FFE052EEEC1A74CB1C31FBBAC66EE8D" ma:contentTypeVersion="13" ma:contentTypeDescription="Een nieuw document maken." ma:contentTypeScope="" ma:versionID="57d4768bcb5aaa8c33ed0d0239b3c6a6">
  <xsd:schema xmlns:xsd="http://www.w3.org/2001/XMLSchema" xmlns:xs="http://www.w3.org/2001/XMLSchema" xmlns:p="http://schemas.microsoft.com/office/2006/metadata/properties" xmlns:ns2="0da4ce52-7ec4-49c2-974c-01d69868c42a" xmlns:ns3="4634d67e-7303-47d0-905b-1c79c4bf7717" targetNamespace="http://schemas.microsoft.com/office/2006/metadata/properties" ma:root="true" ma:fieldsID="2b418601fb60f8982875847320086b56" ns2:_="" ns3:_="">
    <xsd:import namespace="0da4ce52-7ec4-49c2-974c-01d69868c42a"/>
    <xsd:import namespace="4634d67e-7303-47d0-905b-1c79c4bf771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a4ce52-7ec4-49c2-974c-01d69868c4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indexed="true"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Afbeeldingtags" ma:readOnly="false" ma:fieldId="{5cf76f15-5ced-4ddc-b409-7134ff3c332f}" ma:taxonomyMulti="true" ma:sspId="99c1a8ce-a326-4dc6-afcc-87a568a6d8e9"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634d67e-7303-47d0-905b-1c79c4bf7717"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b185ae69-c6d2-472c-93f6-a6d33b549a9e}" ma:internalName="TaxCatchAll" ma:showField="CatchAllData" ma:web="4634d67e-7303-47d0-905b-1c79c4bf77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BEC2E2-B6C5-43DC-8093-E7F253442190}">
  <ds:schemaRefs>
    <ds:schemaRef ds:uri="http://purl.org/dc/terms/"/>
    <ds:schemaRef ds:uri="http://schemas.microsoft.com/office/2006/documentManagement/types"/>
    <ds:schemaRef ds:uri="0da4ce52-7ec4-49c2-974c-01d69868c42a"/>
    <ds:schemaRef ds:uri="http://schemas.microsoft.com/office/2006/metadata/properties"/>
    <ds:schemaRef ds:uri="http://purl.org/dc/dcmitype/"/>
    <ds:schemaRef ds:uri="4634d67e-7303-47d0-905b-1c79c4bf7717"/>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8417AEE-37F9-4FBD-9EDD-964E1C4A56C9}">
  <ds:schemaRefs>
    <ds:schemaRef ds:uri="http://schemas.microsoft.com/sharepoint/v3/contenttype/forms"/>
  </ds:schemaRefs>
</ds:datastoreItem>
</file>

<file path=customXml/itemProps3.xml><?xml version="1.0" encoding="utf-8"?>
<ds:datastoreItem xmlns:ds="http://schemas.openxmlformats.org/officeDocument/2006/customXml" ds:itemID="{AE6C84C2-FA20-47AE-8A0E-29B04DAF05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a4ce52-7ec4-49c2-974c-01d69868c42a"/>
    <ds:schemaRef ds:uri="4634d67e-7303-47d0-905b-1c79c4bf77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ewire PPT Template_New Brand_MASTERFILE</Template>
  <TotalTime>0</TotalTime>
  <Words>8591</Words>
  <Application>Microsoft Office PowerPoint</Application>
  <PresentationFormat>Custom</PresentationFormat>
  <Paragraphs>894</Paragraphs>
  <Slides>23</Slides>
  <Notes>23</Notes>
  <HiddenSlides>0</HiddenSlides>
  <MMClips>0</MMClips>
  <ScaleCrop>false</ScaleCrop>
  <HeadingPairs>
    <vt:vector size="4" baseType="variant">
      <vt:variant>
        <vt:lpstr>Theme</vt:lpstr>
      </vt:variant>
      <vt:variant>
        <vt:i4>2</vt:i4>
      </vt:variant>
      <vt:variant>
        <vt:lpstr>Slide Titles</vt:lpstr>
      </vt:variant>
      <vt:variant>
        <vt:i4>23</vt:i4>
      </vt:variant>
    </vt:vector>
  </HeadingPairs>
  <TitlesOfParts>
    <vt:vector size="25" baseType="lpstr">
      <vt:lpstr>Rewire_Light</vt:lpstr>
      <vt:lpstr>1_Rewire_Light</vt:lpstr>
      <vt:lpstr>Competency framework</vt:lpstr>
      <vt:lpstr>PowerPoint Presentation</vt:lpstr>
      <vt:lpstr>PowerPoint Presentation</vt:lpstr>
      <vt:lpstr>PowerPoint Presentation</vt:lpstr>
      <vt:lpstr>Competencies and capabilities are defined around three pillars of Rewire’s growth </vt:lpstr>
      <vt:lpstr>Overview of the sub competencies and sub capabilities per area</vt:lpstr>
      <vt:lpstr>Data Science| Data wrangling – behavioral anchors</vt:lpstr>
      <vt:lpstr>Data Science| AI/ML knowledge incl. GenAI– behavioral anchors</vt:lpstr>
      <vt:lpstr>Data science| Model design &amp; development behavioral anchors </vt:lpstr>
      <vt:lpstr>Data science| Model deployment &amp; monitoring– behavioral anchors </vt:lpstr>
      <vt:lpstr>Engineering| Behavioral anchors (1/2)</vt:lpstr>
      <vt:lpstr>Engineering| Behavioral anchors (2/2)</vt:lpstr>
      <vt:lpstr>Data AI translation| behavioral anchors</vt:lpstr>
      <vt:lpstr>DAIdactics| behavioral anchors (1/2)</vt:lpstr>
      <vt:lpstr>DAIdactics| behavioral anchors (2/2)</vt:lpstr>
      <vt:lpstr>Professional competency| Effective communication</vt:lpstr>
      <vt:lpstr>Professional competency| Delivery Management- behavioral anchors</vt:lpstr>
      <vt:lpstr>Professional competency| Problem Solving &amp; concepts</vt:lpstr>
      <vt:lpstr>Professional competency| Quality, risk &amp; compliance</vt:lpstr>
      <vt:lpstr>Leadership capability | Client leadership – behavioral anchors</vt:lpstr>
      <vt:lpstr>Professional competency| Personal leadership – behavioral anchors </vt:lpstr>
      <vt:lpstr>Professional competency| People leadership &amp; care</vt:lpstr>
      <vt:lpstr>Professional competency| Rewire leadership– behavioral anchor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wire Master Template v1.0 March2024</dc:title>
  <dc:subject/>
  <dc:creator>RSnellenberg@micompany.nl;Agolub@micompany.nl</dc:creator>
  <cp:keywords/>
  <dc:description/>
  <cp:lastModifiedBy>Barend Beenackers</cp:lastModifiedBy>
  <cp:revision>14</cp:revision>
  <cp:lastPrinted>2024-06-14T12:32:29Z</cp:lastPrinted>
  <dcterms:created xsi:type="dcterms:W3CDTF">2024-03-10T08:07:17Z</dcterms:created>
  <dcterms:modified xsi:type="dcterms:W3CDTF">2024-11-12T11:41: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FE052EEEC1A74CB1C31FBBAC66EE8D</vt:lpwstr>
  </property>
  <property fmtid="{D5CDD505-2E9C-101B-9397-08002B2CF9AE}" pid="3" name="MediaServiceImageTags">
    <vt:lpwstr/>
  </property>
  <property fmtid="{D5CDD505-2E9C-101B-9397-08002B2CF9AE}" pid="4" name="Order">
    <vt:r8>300</vt:r8>
  </property>
  <property fmtid="{D5CDD505-2E9C-101B-9397-08002B2CF9AE}" pid="5" name="xd_Signature">
    <vt:bool>false</vt:bool>
  </property>
  <property fmtid="{D5CDD505-2E9C-101B-9397-08002B2CF9AE}" pid="6" name="SharedWithUsers">
    <vt:lpwstr>14;#Frejanne Ruoff;#15;#Marcel Mol;#12;#Laura Brandwacht;#16;#Callum Cannadine;#17;#Robert Poos;#13;#Barend Beenackers;#18;#Rabiah Nasar-Ullah;#10;#Wynfrith Meijwes;#24;#Folkert de Jong;#25;#Ties Carbo;#26;#Marco van den Bogaard;#27;#Samantha van Loenen;#28;#Ambra Hekman</vt:lpwstr>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ies>
</file>